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slideLayouts/slideLayout36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slideLayouts/slideLayout35.xml" ContentType="application/vnd.openxmlformats-officedocument.presentationml.slideLayout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theme/theme6.xml" ContentType="application/vnd.openxmlformats-officedocument.theme+xml"/>
  <Override PartName="/ppt/theme/theme5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6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7" r:id="rId3"/>
    <p:sldMasterId id="2147483712" r:id="rId4"/>
    <p:sldMasterId id="2147483724" r:id="rId5"/>
  </p:sldMasterIdLst>
  <p:notesMasterIdLst>
    <p:notesMasterId r:id="rId48"/>
  </p:notesMasterIdLst>
  <p:sldIdLst>
    <p:sldId id="256" r:id="rId6"/>
    <p:sldId id="1543" r:id="rId7"/>
    <p:sldId id="2147473755" r:id="rId8"/>
    <p:sldId id="2147473756" r:id="rId9"/>
    <p:sldId id="403" r:id="rId10"/>
    <p:sldId id="1545" r:id="rId11"/>
    <p:sldId id="397" r:id="rId12"/>
    <p:sldId id="2147474091" r:id="rId13"/>
    <p:sldId id="1549" r:id="rId14"/>
    <p:sldId id="1550" r:id="rId15"/>
    <p:sldId id="1551" r:id="rId16"/>
    <p:sldId id="2147474092" r:id="rId17"/>
    <p:sldId id="2141412737" r:id="rId18"/>
    <p:sldId id="2141412738" r:id="rId19"/>
    <p:sldId id="2141412786" r:id="rId20"/>
    <p:sldId id="2141412787" r:id="rId21"/>
    <p:sldId id="2147474087" r:id="rId22"/>
    <p:sldId id="2147474088" r:id="rId23"/>
    <p:sldId id="2141412794" r:id="rId24"/>
    <p:sldId id="270" r:id="rId25"/>
    <p:sldId id="2147473796" r:id="rId26"/>
    <p:sldId id="279" r:id="rId27"/>
    <p:sldId id="2147473792" r:id="rId28"/>
    <p:sldId id="2147474084" r:id="rId29"/>
    <p:sldId id="2147474085" r:id="rId30"/>
    <p:sldId id="2147474086" r:id="rId31"/>
    <p:sldId id="2147471714" r:id="rId32"/>
    <p:sldId id="2147473799" r:id="rId33"/>
    <p:sldId id="2134959111" r:id="rId34"/>
    <p:sldId id="2147470624" r:id="rId35"/>
    <p:sldId id="2147473802" r:id="rId36"/>
    <p:sldId id="271" r:id="rId37"/>
    <p:sldId id="306" r:id="rId38"/>
    <p:sldId id="275" r:id="rId39"/>
    <p:sldId id="294" r:id="rId40"/>
    <p:sldId id="2147473800" r:id="rId41"/>
    <p:sldId id="293" r:id="rId42"/>
    <p:sldId id="2147470757" r:id="rId43"/>
    <p:sldId id="2147470758" r:id="rId44"/>
    <p:sldId id="2147473804" r:id="rId45"/>
    <p:sldId id="2147470769" r:id="rId46"/>
    <p:sldId id="2147473806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24" autoAdjust="0"/>
    <p:restoredTop sz="94694"/>
  </p:normalViewPr>
  <p:slideViewPr>
    <p:cSldViewPr snapToGrid="0">
      <p:cViewPr varScale="1">
        <p:scale>
          <a:sx n="117" d="100"/>
          <a:sy n="117" d="100"/>
        </p:scale>
        <p:origin x="68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viewProps" Target="viewProps.xml"/><Relationship Id="rId55" Type="http://schemas.openxmlformats.org/officeDocument/2006/relationships/customXml" Target="../customXml/item3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customXml" Target="../customXml/item1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3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848432568549748E-2"/>
          <c:y val="0.14742118397884843"/>
          <c:w val="0.89366058798336157"/>
          <c:h val="0.7329672455093942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5</c:f>
              <c:numCache>
                <c:formatCode>General</c:formatCode>
                <c:ptCount val="14"/>
                <c:pt idx="0">
                  <c:v>0</c:v>
                </c:pt>
                <c:pt idx="1">
                  <c:v>3</c:v>
                </c:pt>
                <c:pt idx="2">
                  <c:v>6</c:v>
                </c:pt>
                <c:pt idx="3">
                  <c:v>9</c:v>
                </c:pt>
                <c:pt idx="4">
                  <c:v>12</c:v>
                </c:pt>
                <c:pt idx="5">
                  <c:v>15</c:v>
                </c:pt>
                <c:pt idx="6">
                  <c:v>18</c:v>
                </c:pt>
                <c:pt idx="7">
                  <c:v>21</c:v>
                </c:pt>
                <c:pt idx="8">
                  <c:v>24</c:v>
                </c:pt>
                <c:pt idx="9">
                  <c:v>27</c:v>
                </c:pt>
                <c:pt idx="10">
                  <c:v>30</c:v>
                </c:pt>
                <c:pt idx="11">
                  <c:v>33</c:v>
                </c:pt>
                <c:pt idx="12">
                  <c:v>36</c:v>
                </c:pt>
                <c:pt idx="13">
                  <c:v>39</c:v>
                </c:pt>
              </c:numCache>
            </c:num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4D-6D4E-8B12-7277B36256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8613327"/>
        <c:axId val="788649807"/>
      </c:lineChart>
      <c:catAx>
        <c:axId val="7886133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649807"/>
        <c:crosses val="autoZero"/>
        <c:auto val="1"/>
        <c:lblAlgn val="ctr"/>
        <c:lblOffset val="100"/>
        <c:noMultiLvlLbl val="0"/>
      </c:catAx>
      <c:valAx>
        <c:axId val="788649807"/>
        <c:scaling>
          <c:orientation val="minMax"/>
          <c:max val="1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65000"/>
                <a:lumOff val="3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613327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848432568549748E-2"/>
          <c:y val="0.14742118397884843"/>
          <c:w val="0.89366058798336157"/>
          <c:h val="0.73296724550939429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:$A$18</c:f>
              <c:numCache>
                <c:formatCode>General</c:formatCode>
                <c:ptCount val="17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  <c:pt idx="6">
                  <c:v>12</c:v>
                </c:pt>
                <c:pt idx="7">
                  <c:v>14</c:v>
                </c:pt>
                <c:pt idx="8">
                  <c:v>16</c:v>
                </c:pt>
                <c:pt idx="9">
                  <c:v>18</c:v>
                </c:pt>
                <c:pt idx="10">
                  <c:v>20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14D-6D4E-8B12-7277B36256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88613327"/>
        <c:axId val="788649807"/>
      </c:lineChart>
      <c:catAx>
        <c:axId val="788613327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649807"/>
        <c:crosses val="autoZero"/>
        <c:auto val="1"/>
        <c:lblAlgn val="ctr"/>
        <c:lblOffset val="100"/>
        <c:noMultiLvlLbl val="0"/>
      </c:catAx>
      <c:valAx>
        <c:axId val="788649807"/>
        <c:scaling>
          <c:orientation val="minMax"/>
          <c:max val="1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tx1">
                <a:lumMod val="65000"/>
                <a:lumOff val="3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8613327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688C5EA-AC9B-4EE4-93FB-8E81335DE63C}" type="doc">
      <dgm:prSet loTypeId="urn:microsoft.com/office/officeart/2005/8/layout/lProcess2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C1875624-90C1-4988-A0A5-42F3DD9418A8}">
      <dgm:prSet phldrT="[Text]" custT="1"/>
      <dgm:spPr>
        <a:solidFill>
          <a:schemeClr val="bg1">
            <a:lumMod val="95000"/>
          </a:schemeClr>
        </a:solidFill>
      </dgm:spPr>
      <dgm:t>
        <a:bodyPr tIns="0"/>
        <a:lstStyle/>
        <a:p>
          <a:pPr>
            <a:spcAft>
              <a:spcPct val="35000"/>
            </a:spcAft>
          </a:pPr>
          <a:r>
            <a:rPr lang="en-US" sz="2200" b="1"/>
            <a:t>Monotherapy</a:t>
          </a:r>
        </a:p>
        <a:p>
          <a:pPr>
            <a:spcAft>
              <a:spcPts val="1800"/>
            </a:spcAft>
          </a:pPr>
          <a:r>
            <a:rPr lang="en-US" sz="1800"/>
            <a:t>Olutasidenib 150 mg BID</a:t>
          </a:r>
          <a:endParaRPr lang="en-US" sz="2000"/>
        </a:p>
      </dgm:t>
    </dgm:pt>
    <dgm:pt modelId="{8F906236-0FC1-4F28-AF85-85996F2F9300}" type="parTrans" cxnId="{F9149C4A-7324-4072-B3AB-FBF8905A13CD}">
      <dgm:prSet/>
      <dgm:spPr/>
      <dgm:t>
        <a:bodyPr/>
        <a:lstStyle/>
        <a:p>
          <a:endParaRPr lang="en-US"/>
        </a:p>
      </dgm:t>
    </dgm:pt>
    <dgm:pt modelId="{6E925D5C-52CA-479B-BE24-80878BDB39DF}" type="sibTrans" cxnId="{F9149C4A-7324-4072-B3AB-FBF8905A13CD}">
      <dgm:prSet/>
      <dgm:spPr/>
      <dgm:t>
        <a:bodyPr/>
        <a:lstStyle/>
        <a:p>
          <a:endParaRPr lang="en-US"/>
        </a:p>
      </dgm:t>
    </dgm:pt>
    <dgm:pt modelId="{D1E1692A-B41C-4F76-B9E7-A8A5150E47E5}">
      <dgm:prSet phldrT="[Text]" custT="1"/>
      <dgm:spPr>
        <a:solidFill>
          <a:schemeClr val="accent6"/>
        </a:solidFill>
      </dgm:spPr>
      <dgm:t>
        <a:bodyPr/>
        <a:lstStyle/>
        <a:p>
          <a:r>
            <a:rPr lang="en-US" sz="1600" b="1"/>
            <a:t>Cohort 1</a:t>
          </a:r>
          <a:r>
            <a:rPr lang="en-US" sz="1600"/>
            <a:t>: R/R AML (N = 153)</a:t>
          </a:r>
        </a:p>
      </dgm:t>
    </dgm:pt>
    <dgm:pt modelId="{1A17BEB3-AF19-4F88-8CC9-52DEED20142D}" type="parTrans" cxnId="{BFA80624-BABF-4951-BE14-EF57F5C133C3}">
      <dgm:prSet/>
      <dgm:spPr/>
      <dgm:t>
        <a:bodyPr/>
        <a:lstStyle/>
        <a:p>
          <a:endParaRPr lang="en-US"/>
        </a:p>
      </dgm:t>
    </dgm:pt>
    <dgm:pt modelId="{E9F1BD5C-51C3-4E8F-8F9F-6657483671F0}" type="sibTrans" cxnId="{BFA80624-BABF-4951-BE14-EF57F5C133C3}">
      <dgm:prSet/>
      <dgm:spPr/>
      <dgm:t>
        <a:bodyPr/>
        <a:lstStyle/>
        <a:p>
          <a:endParaRPr lang="en-US"/>
        </a:p>
      </dgm:t>
    </dgm:pt>
    <dgm:pt modelId="{5958CF4E-322A-43AF-9574-E893D56D998E}">
      <dgm:prSet phldrT="[Text]" custT="1"/>
      <dgm:spPr/>
      <dgm:t>
        <a:bodyPr/>
        <a:lstStyle/>
        <a:p>
          <a:r>
            <a:rPr lang="en-US" sz="1600" b="1"/>
            <a:t>Cohort 2</a:t>
          </a:r>
          <a:r>
            <a:rPr lang="en-US" sz="1600"/>
            <a:t>: MRD-positive AML     in CR/CRi</a:t>
          </a:r>
        </a:p>
      </dgm:t>
    </dgm:pt>
    <dgm:pt modelId="{C6570C5F-A4BC-4450-B959-A9917C593B68}" type="parTrans" cxnId="{92C38C57-3CA9-4E9B-86F4-6C3A8982FC43}">
      <dgm:prSet/>
      <dgm:spPr/>
      <dgm:t>
        <a:bodyPr/>
        <a:lstStyle/>
        <a:p>
          <a:endParaRPr lang="en-US"/>
        </a:p>
      </dgm:t>
    </dgm:pt>
    <dgm:pt modelId="{3BCECBCE-6FCD-4E52-978C-7CACA231EAE0}" type="sibTrans" cxnId="{92C38C57-3CA9-4E9B-86F4-6C3A8982FC43}">
      <dgm:prSet/>
      <dgm:spPr/>
      <dgm:t>
        <a:bodyPr/>
        <a:lstStyle/>
        <a:p>
          <a:endParaRPr lang="en-US"/>
        </a:p>
      </dgm:t>
    </dgm:pt>
    <dgm:pt modelId="{D6AE9535-43BF-4139-BB77-9854431BFFF7}">
      <dgm:prSet phldrT="[Text]" custT="1"/>
      <dgm:spPr>
        <a:solidFill>
          <a:schemeClr val="bg1">
            <a:lumMod val="95000"/>
          </a:schemeClr>
        </a:solidFill>
      </dgm:spPr>
      <dgm:t>
        <a:bodyPr tIns="0"/>
        <a:lstStyle/>
        <a:p>
          <a:r>
            <a:rPr lang="en-US" sz="2200" b="1"/>
            <a:t>Combination Therapy</a:t>
          </a:r>
        </a:p>
        <a:p>
          <a:r>
            <a:rPr lang="en-US" sz="1800"/>
            <a:t>Olutasidenib 150 mg BID + Aza</a:t>
          </a:r>
        </a:p>
      </dgm:t>
    </dgm:pt>
    <dgm:pt modelId="{6376F90E-1A43-4773-B036-2D20B00A8AAB}" type="parTrans" cxnId="{022099AF-DA8B-4958-B58C-9ECE930B1B30}">
      <dgm:prSet/>
      <dgm:spPr/>
      <dgm:t>
        <a:bodyPr/>
        <a:lstStyle/>
        <a:p>
          <a:endParaRPr lang="en-US"/>
        </a:p>
      </dgm:t>
    </dgm:pt>
    <dgm:pt modelId="{E4ABB763-CA46-4436-843E-E497E91B61F4}" type="sibTrans" cxnId="{022099AF-DA8B-4958-B58C-9ECE930B1B30}">
      <dgm:prSet/>
      <dgm:spPr/>
      <dgm:t>
        <a:bodyPr/>
        <a:lstStyle/>
        <a:p>
          <a:endParaRPr lang="en-US"/>
        </a:p>
      </dgm:t>
    </dgm:pt>
    <dgm:pt modelId="{0A4F4D69-9645-47E9-9BBE-58D3AFFABB11}">
      <dgm:prSet phldrT="[Text]"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1600" b="1" dirty="0"/>
            <a:t>Cohort 4</a:t>
          </a:r>
          <a:r>
            <a:rPr lang="en-US" sz="1600" dirty="0"/>
            <a:t>: R/R AML/MDS with no prior HMA or IDH1 inhibitor</a:t>
          </a:r>
        </a:p>
      </dgm:t>
    </dgm:pt>
    <dgm:pt modelId="{CD224D52-173D-4AA5-92D8-659A933A5E39}" type="parTrans" cxnId="{2AA9171C-B725-4AEC-94C5-75B663203420}">
      <dgm:prSet/>
      <dgm:spPr/>
      <dgm:t>
        <a:bodyPr/>
        <a:lstStyle/>
        <a:p>
          <a:endParaRPr lang="en-US"/>
        </a:p>
      </dgm:t>
    </dgm:pt>
    <dgm:pt modelId="{A4E10DD2-EAE6-4AF1-8591-8602947BF138}" type="sibTrans" cxnId="{2AA9171C-B725-4AEC-94C5-75B663203420}">
      <dgm:prSet/>
      <dgm:spPr/>
      <dgm:t>
        <a:bodyPr/>
        <a:lstStyle/>
        <a:p>
          <a:endParaRPr lang="en-US"/>
        </a:p>
      </dgm:t>
    </dgm:pt>
    <dgm:pt modelId="{A68670EE-15A9-4FAF-AB74-79834A0722A0}">
      <dgm:prSet phldrT="[Text]" custT="1"/>
      <dgm:spPr>
        <a:solidFill>
          <a:schemeClr val="accent1"/>
        </a:solidFill>
      </dgm:spPr>
      <dgm:t>
        <a:bodyPr/>
        <a:lstStyle/>
        <a:p>
          <a:r>
            <a:rPr lang="en-US" sz="1600" b="1"/>
            <a:t>Cohort 5</a:t>
          </a:r>
          <a:r>
            <a:rPr lang="en-US" sz="1600" b="0"/>
            <a:t>: R/R AML/MDS with progression on HMA</a:t>
          </a:r>
        </a:p>
      </dgm:t>
    </dgm:pt>
    <dgm:pt modelId="{2C98971F-83A0-4544-9FCF-A9C86F3D61E1}" type="parTrans" cxnId="{D7FB0AF5-4C20-4EA1-B06D-5623974EE5FA}">
      <dgm:prSet/>
      <dgm:spPr/>
      <dgm:t>
        <a:bodyPr/>
        <a:lstStyle/>
        <a:p>
          <a:endParaRPr lang="en-US"/>
        </a:p>
      </dgm:t>
    </dgm:pt>
    <dgm:pt modelId="{FC11254E-7911-423B-8AA5-D813E85BFC0F}" type="sibTrans" cxnId="{D7FB0AF5-4C20-4EA1-B06D-5623974EE5FA}">
      <dgm:prSet/>
      <dgm:spPr/>
      <dgm:t>
        <a:bodyPr/>
        <a:lstStyle/>
        <a:p>
          <a:endParaRPr lang="en-US"/>
        </a:p>
      </dgm:t>
    </dgm:pt>
    <dgm:pt modelId="{7B33C700-E431-4EDC-9F4D-6784787CE5D7}">
      <dgm:prSet custT="1"/>
      <dgm:spPr>
        <a:solidFill>
          <a:schemeClr val="bg2"/>
        </a:solidFill>
      </dgm:spPr>
      <dgm:t>
        <a:bodyPr/>
        <a:lstStyle/>
        <a:p>
          <a:r>
            <a:rPr lang="en-US" sz="1600" b="1"/>
            <a:t>Cohort 6</a:t>
          </a:r>
          <a:r>
            <a:rPr lang="en-US" sz="1600"/>
            <a:t>: R/R AML most recently treated with IDH1 inhibitor monotherapy</a:t>
          </a:r>
        </a:p>
      </dgm:t>
    </dgm:pt>
    <dgm:pt modelId="{7268632A-8AEB-4A4C-AECE-0FFE87A07606}" type="parTrans" cxnId="{93E55677-D737-4FC5-885B-40EBC956E23F}">
      <dgm:prSet/>
      <dgm:spPr/>
      <dgm:t>
        <a:bodyPr/>
        <a:lstStyle/>
        <a:p>
          <a:endParaRPr lang="en-US"/>
        </a:p>
      </dgm:t>
    </dgm:pt>
    <dgm:pt modelId="{B50F6FF4-BF04-44CA-8999-1D5DF9512099}" type="sibTrans" cxnId="{93E55677-D737-4FC5-885B-40EBC956E23F}">
      <dgm:prSet/>
      <dgm:spPr/>
      <dgm:t>
        <a:bodyPr/>
        <a:lstStyle/>
        <a:p>
          <a:endParaRPr lang="en-US"/>
        </a:p>
      </dgm:t>
    </dgm:pt>
    <dgm:pt modelId="{8E6B39C7-9252-4DA2-9D75-860650DFD87F}">
      <dgm:prSet custT="1"/>
      <dgm:spPr>
        <a:solidFill>
          <a:schemeClr val="accent2">
            <a:lumMod val="75000"/>
          </a:schemeClr>
        </a:solidFill>
      </dgm:spPr>
      <dgm:t>
        <a:bodyPr/>
        <a:lstStyle/>
        <a:p>
          <a:r>
            <a:rPr lang="en-US" sz="1600" b="1"/>
            <a:t>Cohort 8</a:t>
          </a:r>
          <a:r>
            <a:rPr lang="en-US" sz="1600"/>
            <a:t>: ND AML eligible for frontline Aza</a:t>
          </a:r>
        </a:p>
      </dgm:t>
    </dgm:pt>
    <dgm:pt modelId="{DC91DC37-21F2-4F5C-8295-B75D204FB1D3}" type="parTrans" cxnId="{9E565E49-D03E-433E-9DDC-58AE9E4C7B58}">
      <dgm:prSet/>
      <dgm:spPr/>
      <dgm:t>
        <a:bodyPr/>
        <a:lstStyle/>
        <a:p>
          <a:endParaRPr lang="en-US"/>
        </a:p>
      </dgm:t>
    </dgm:pt>
    <dgm:pt modelId="{1EBE9415-4BBF-44D6-BD64-28441C3EB9C0}" type="sibTrans" cxnId="{9E565E49-D03E-433E-9DDC-58AE9E4C7B58}">
      <dgm:prSet/>
      <dgm:spPr/>
      <dgm:t>
        <a:bodyPr/>
        <a:lstStyle/>
        <a:p>
          <a:endParaRPr lang="en-US"/>
        </a:p>
      </dgm:t>
    </dgm:pt>
    <dgm:pt modelId="{87DC1817-7F62-480E-B8F2-465DC1A7275F}">
      <dgm:prSet custT="1"/>
      <dgm:spPr/>
      <dgm:t>
        <a:bodyPr/>
        <a:lstStyle/>
        <a:p>
          <a:r>
            <a:rPr lang="en-US" sz="1500" b="1" dirty="0"/>
            <a:t>Cohort 3</a:t>
          </a:r>
          <a:r>
            <a:rPr lang="en-US" sz="1500" dirty="0"/>
            <a:t>: R/R AML/MDS treated with prior IDH1 inhibitors; standard treatments contraindicated</a:t>
          </a:r>
        </a:p>
      </dgm:t>
    </dgm:pt>
    <dgm:pt modelId="{703C3FDF-299A-4A56-A947-59E9AB9CF948}" type="parTrans" cxnId="{F9C37019-8116-4466-8193-1E497DBFC1A2}">
      <dgm:prSet/>
      <dgm:spPr/>
      <dgm:t>
        <a:bodyPr/>
        <a:lstStyle/>
        <a:p>
          <a:endParaRPr lang="en-US"/>
        </a:p>
      </dgm:t>
    </dgm:pt>
    <dgm:pt modelId="{13C60A5C-3F8C-4D42-A200-D111689A231D}" type="sibTrans" cxnId="{F9C37019-8116-4466-8193-1E497DBFC1A2}">
      <dgm:prSet/>
      <dgm:spPr/>
      <dgm:t>
        <a:bodyPr/>
        <a:lstStyle/>
        <a:p>
          <a:endParaRPr lang="en-US"/>
        </a:p>
      </dgm:t>
    </dgm:pt>
    <dgm:pt modelId="{34438C38-FD1E-4C20-A5B7-16CDC7FCFB5B}">
      <dgm:prSet custT="1"/>
      <dgm:spPr/>
      <dgm:t>
        <a:bodyPr/>
        <a:lstStyle/>
        <a:p>
          <a:r>
            <a:rPr lang="en-US" sz="1600" b="1"/>
            <a:t>Cohort 7</a:t>
          </a:r>
          <a:r>
            <a:rPr lang="en-US" sz="1600"/>
            <a:t>: ND AML; standard treatments contraindicated</a:t>
          </a:r>
        </a:p>
      </dgm:t>
    </dgm:pt>
    <dgm:pt modelId="{6585418C-C028-40DC-87AB-78C7D83728EB}" type="parTrans" cxnId="{DC32B63D-10BF-40BD-8F23-3D3462642A06}">
      <dgm:prSet/>
      <dgm:spPr/>
      <dgm:t>
        <a:bodyPr/>
        <a:lstStyle/>
        <a:p>
          <a:endParaRPr lang="en-US"/>
        </a:p>
      </dgm:t>
    </dgm:pt>
    <dgm:pt modelId="{EA2F0F1E-ABB8-4933-8A7D-243A702AEFE1}" type="sibTrans" cxnId="{DC32B63D-10BF-40BD-8F23-3D3462642A06}">
      <dgm:prSet/>
      <dgm:spPr/>
      <dgm:t>
        <a:bodyPr/>
        <a:lstStyle/>
        <a:p>
          <a:endParaRPr lang="en-US"/>
        </a:p>
      </dgm:t>
    </dgm:pt>
    <dgm:pt modelId="{AFE4084A-538D-4FB0-A6E2-570163DFF953}" type="pres">
      <dgm:prSet presAssocID="{D688C5EA-AC9B-4EE4-93FB-8E81335DE63C}" presName="theList" presStyleCnt="0">
        <dgm:presLayoutVars>
          <dgm:dir/>
          <dgm:animLvl val="lvl"/>
          <dgm:resizeHandles val="exact"/>
        </dgm:presLayoutVars>
      </dgm:prSet>
      <dgm:spPr/>
    </dgm:pt>
    <dgm:pt modelId="{26869F41-E88E-423E-8820-1E42FF09BFF7}" type="pres">
      <dgm:prSet presAssocID="{C1875624-90C1-4988-A0A5-42F3DD9418A8}" presName="compNode" presStyleCnt="0"/>
      <dgm:spPr/>
    </dgm:pt>
    <dgm:pt modelId="{B517FF2F-46B4-489A-86D9-2308B7CD0D5C}" type="pres">
      <dgm:prSet presAssocID="{C1875624-90C1-4988-A0A5-42F3DD9418A8}" presName="aNode" presStyleLbl="bgShp" presStyleIdx="0" presStyleCnt="2" custLinFactNeighborX="974" custLinFactNeighborY="1005"/>
      <dgm:spPr>
        <a:prstGeom prst="rect">
          <a:avLst/>
        </a:prstGeom>
      </dgm:spPr>
    </dgm:pt>
    <dgm:pt modelId="{70017948-C5DC-4168-BBEA-A50A2927F7F1}" type="pres">
      <dgm:prSet presAssocID="{C1875624-90C1-4988-A0A5-42F3DD9418A8}" presName="textNode" presStyleLbl="bgShp" presStyleIdx="0" presStyleCnt="2"/>
      <dgm:spPr/>
    </dgm:pt>
    <dgm:pt modelId="{E26DC90E-966F-4FA4-8748-36C93EA48D32}" type="pres">
      <dgm:prSet presAssocID="{C1875624-90C1-4988-A0A5-42F3DD9418A8}" presName="compChildNode" presStyleCnt="0"/>
      <dgm:spPr/>
    </dgm:pt>
    <dgm:pt modelId="{62E1B89B-3478-4B6A-8297-9046565FAAEC}" type="pres">
      <dgm:prSet presAssocID="{C1875624-90C1-4988-A0A5-42F3DD9418A8}" presName="theInnerList" presStyleCnt="0"/>
      <dgm:spPr/>
    </dgm:pt>
    <dgm:pt modelId="{978F22F3-83CB-42B2-9FD8-367BB41926BA}" type="pres">
      <dgm:prSet presAssocID="{D1E1692A-B41C-4F76-B9E7-A8A5150E47E5}" presName="childNode" presStyleLbl="node1" presStyleIdx="0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13974C5A-8498-4C1C-8C78-EAC3E7620AC9}" type="pres">
      <dgm:prSet presAssocID="{D1E1692A-B41C-4F76-B9E7-A8A5150E47E5}" presName="aSpace2" presStyleCnt="0"/>
      <dgm:spPr/>
    </dgm:pt>
    <dgm:pt modelId="{B6AC5405-E178-4CAA-AF2C-C719A2B7BDCE}" type="pres">
      <dgm:prSet presAssocID="{5958CF4E-322A-43AF-9574-E893D56D998E}" presName="childNode" presStyleLbl="node1" presStyleIdx="1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959D154E-B0E5-4073-BF64-20CEBCBE9C6D}" type="pres">
      <dgm:prSet presAssocID="{5958CF4E-322A-43AF-9574-E893D56D998E}" presName="aSpace2" presStyleCnt="0"/>
      <dgm:spPr/>
    </dgm:pt>
    <dgm:pt modelId="{41569A7C-6850-4D00-A3F3-075D6AD51926}" type="pres">
      <dgm:prSet presAssocID="{87DC1817-7F62-480E-B8F2-465DC1A7275F}" presName="childNode" presStyleLbl="node1" presStyleIdx="2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CF03D0B5-9F14-478E-AD73-8B53F7B2733D}" type="pres">
      <dgm:prSet presAssocID="{87DC1817-7F62-480E-B8F2-465DC1A7275F}" presName="aSpace2" presStyleCnt="0"/>
      <dgm:spPr/>
    </dgm:pt>
    <dgm:pt modelId="{D686BEB3-88B8-4127-8437-3E3FFCFD0B4A}" type="pres">
      <dgm:prSet presAssocID="{34438C38-FD1E-4C20-A5B7-16CDC7FCFB5B}" presName="childNode" presStyleLbl="node1" presStyleIdx="3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702F4AAF-06AD-4B2A-AE92-7DA211825C7D}" type="pres">
      <dgm:prSet presAssocID="{C1875624-90C1-4988-A0A5-42F3DD9418A8}" presName="aSpace" presStyleCnt="0"/>
      <dgm:spPr/>
    </dgm:pt>
    <dgm:pt modelId="{9802B2D0-4305-4399-B867-B3597D3794B5}" type="pres">
      <dgm:prSet presAssocID="{D6AE9535-43BF-4139-BB77-9854431BFFF7}" presName="compNode" presStyleCnt="0"/>
      <dgm:spPr/>
    </dgm:pt>
    <dgm:pt modelId="{18BE1BEE-F6FE-47CA-8B6D-0E6151AA4892}" type="pres">
      <dgm:prSet presAssocID="{D6AE9535-43BF-4139-BB77-9854431BFFF7}" presName="aNode" presStyleLbl="bgShp" presStyleIdx="1" presStyleCnt="2" custLinFactNeighborX="229" custLinFactNeighborY="12266"/>
      <dgm:spPr>
        <a:prstGeom prst="rect">
          <a:avLst/>
        </a:prstGeom>
      </dgm:spPr>
    </dgm:pt>
    <dgm:pt modelId="{476BA4B7-73BE-4AA7-A431-F89BFB7C3631}" type="pres">
      <dgm:prSet presAssocID="{D6AE9535-43BF-4139-BB77-9854431BFFF7}" presName="textNode" presStyleLbl="bgShp" presStyleIdx="1" presStyleCnt="2"/>
      <dgm:spPr/>
    </dgm:pt>
    <dgm:pt modelId="{4C2AEF91-FE0D-4A3B-BBB8-826B2AA13E6F}" type="pres">
      <dgm:prSet presAssocID="{D6AE9535-43BF-4139-BB77-9854431BFFF7}" presName="compChildNode" presStyleCnt="0"/>
      <dgm:spPr/>
    </dgm:pt>
    <dgm:pt modelId="{F6A1C5B6-1FCA-469F-9922-EA0E69316B0B}" type="pres">
      <dgm:prSet presAssocID="{D6AE9535-43BF-4139-BB77-9854431BFFF7}" presName="theInnerList" presStyleCnt="0"/>
      <dgm:spPr/>
    </dgm:pt>
    <dgm:pt modelId="{DAEC72B2-49C0-49D3-AA9C-54A2214BDF9C}" type="pres">
      <dgm:prSet presAssocID="{0A4F4D69-9645-47E9-9BBE-58D3AFFABB11}" presName="childNode" presStyleLbl="node1" presStyleIdx="4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2E0B2564-B0D2-467D-A68A-86CBBED9510F}" type="pres">
      <dgm:prSet presAssocID="{0A4F4D69-9645-47E9-9BBE-58D3AFFABB11}" presName="aSpace2" presStyleCnt="0"/>
      <dgm:spPr/>
    </dgm:pt>
    <dgm:pt modelId="{6B003BFD-4383-4859-B68A-2CDF5F7C9DA5}" type="pres">
      <dgm:prSet presAssocID="{A68670EE-15A9-4FAF-AB74-79834A0722A0}" presName="childNode" presStyleLbl="node1" presStyleIdx="5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7357A074-5DA7-4C5F-ADFB-3D9287DBCAB0}" type="pres">
      <dgm:prSet presAssocID="{A68670EE-15A9-4FAF-AB74-79834A0722A0}" presName="aSpace2" presStyleCnt="0"/>
      <dgm:spPr/>
    </dgm:pt>
    <dgm:pt modelId="{0D049355-FC56-466A-B29C-D450680A4358}" type="pres">
      <dgm:prSet presAssocID="{7B33C700-E431-4EDC-9F4D-6784787CE5D7}" presName="childNode" presStyleLbl="node1" presStyleIdx="6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  <dgm:pt modelId="{791227E6-2E7B-403A-B1C1-C88EFEF5A647}" type="pres">
      <dgm:prSet presAssocID="{7B33C700-E431-4EDC-9F4D-6784787CE5D7}" presName="aSpace2" presStyleCnt="0"/>
      <dgm:spPr/>
    </dgm:pt>
    <dgm:pt modelId="{862B6679-7C97-4387-BBA3-FE2AB51B4689}" type="pres">
      <dgm:prSet presAssocID="{8E6B39C7-9252-4DA2-9D75-860650DFD87F}" presName="childNode" presStyleLbl="node1" presStyleIdx="7" presStyleCnt="8" custScaleY="84685">
        <dgm:presLayoutVars>
          <dgm:bulletEnabled val="1"/>
        </dgm:presLayoutVars>
      </dgm:prSet>
      <dgm:spPr>
        <a:prstGeom prst="rect">
          <a:avLst/>
        </a:prstGeom>
      </dgm:spPr>
    </dgm:pt>
  </dgm:ptLst>
  <dgm:cxnLst>
    <dgm:cxn modelId="{652FDA15-BB57-4021-8D95-A86561DFDC90}" type="presOf" srcId="{34438C38-FD1E-4C20-A5B7-16CDC7FCFB5B}" destId="{D686BEB3-88B8-4127-8437-3E3FFCFD0B4A}" srcOrd="0" destOrd="0" presId="urn:microsoft.com/office/officeart/2005/8/layout/lProcess2"/>
    <dgm:cxn modelId="{484EB816-7BF9-431B-94CB-1455DEDFB62D}" type="presOf" srcId="{D1E1692A-B41C-4F76-B9E7-A8A5150E47E5}" destId="{978F22F3-83CB-42B2-9FD8-367BB41926BA}" srcOrd="0" destOrd="0" presId="urn:microsoft.com/office/officeart/2005/8/layout/lProcess2"/>
    <dgm:cxn modelId="{F9C37019-8116-4466-8193-1E497DBFC1A2}" srcId="{C1875624-90C1-4988-A0A5-42F3DD9418A8}" destId="{87DC1817-7F62-480E-B8F2-465DC1A7275F}" srcOrd="2" destOrd="0" parTransId="{703C3FDF-299A-4A56-A947-59E9AB9CF948}" sibTransId="{13C60A5C-3F8C-4D42-A200-D111689A231D}"/>
    <dgm:cxn modelId="{2AA9171C-B725-4AEC-94C5-75B663203420}" srcId="{D6AE9535-43BF-4139-BB77-9854431BFFF7}" destId="{0A4F4D69-9645-47E9-9BBE-58D3AFFABB11}" srcOrd="0" destOrd="0" parTransId="{CD224D52-173D-4AA5-92D8-659A933A5E39}" sibTransId="{A4E10DD2-EAE6-4AF1-8591-8602947BF138}"/>
    <dgm:cxn modelId="{C38F2C1E-9C0D-4C92-AAD3-739C7B91EF80}" type="presOf" srcId="{A68670EE-15A9-4FAF-AB74-79834A0722A0}" destId="{6B003BFD-4383-4859-B68A-2CDF5F7C9DA5}" srcOrd="0" destOrd="0" presId="urn:microsoft.com/office/officeart/2005/8/layout/lProcess2"/>
    <dgm:cxn modelId="{BFA80624-BABF-4951-BE14-EF57F5C133C3}" srcId="{C1875624-90C1-4988-A0A5-42F3DD9418A8}" destId="{D1E1692A-B41C-4F76-B9E7-A8A5150E47E5}" srcOrd="0" destOrd="0" parTransId="{1A17BEB3-AF19-4F88-8CC9-52DEED20142D}" sibTransId="{E9F1BD5C-51C3-4E8F-8F9F-6657483671F0}"/>
    <dgm:cxn modelId="{50D0A82A-C00B-4EF1-8213-C175A1377E39}" type="presOf" srcId="{5958CF4E-322A-43AF-9574-E893D56D998E}" destId="{B6AC5405-E178-4CAA-AF2C-C719A2B7BDCE}" srcOrd="0" destOrd="0" presId="urn:microsoft.com/office/officeart/2005/8/layout/lProcess2"/>
    <dgm:cxn modelId="{DC32B63D-10BF-40BD-8F23-3D3462642A06}" srcId="{C1875624-90C1-4988-A0A5-42F3DD9418A8}" destId="{34438C38-FD1E-4C20-A5B7-16CDC7FCFB5B}" srcOrd="3" destOrd="0" parTransId="{6585418C-C028-40DC-87AB-78C7D83728EB}" sibTransId="{EA2F0F1E-ABB8-4933-8A7D-243A702AEFE1}"/>
    <dgm:cxn modelId="{9E565E49-D03E-433E-9DDC-58AE9E4C7B58}" srcId="{D6AE9535-43BF-4139-BB77-9854431BFFF7}" destId="{8E6B39C7-9252-4DA2-9D75-860650DFD87F}" srcOrd="3" destOrd="0" parTransId="{DC91DC37-21F2-4F5C-8295-B75D204FB1D3}" sibTransId="{1EBE9415-4BBF-44D6-BD64-28441C3EB9C0}"/>
    <dgm:cxn modelId="{F9149C4A-7324-4072-B3AB-FBF8905A13CD}" srcId="{D688C5EA-AC9B-4EE4-93FB-8E81335DE63C}" destId="{C1875624-90C1-4988-A0A5-42F3DD9418A8}" srcOrd="0" destOrd="0" parTransId="{8F906236-0FC1-4F28-AF85-85996F2F9300}" sibTransId="{6E925D5C-52CA-479B-BE24-80878BDB39DF}"/>
    <dgm:cxn modelId="{92C38C57-3CA9-4E9B-86F4-6C3A8982FC43}" srcId="{C1875624-90C1-4988-A0A5-42F3DD9418A8}" destId="{5958CF4E-322A-43AF-9574-E893D56D998E}" srcOrd="1" destOrd="0" parTransId="{C6570C5F-A4BC-4450-B959-A9917C593B68}" sibTransId="{3BCECBCE-6FCD-4E52-978C-7CACA231EAE0}"/>
    <dgm:cxn modelId="{93E55677-D737-4FC5-885B-40EBC956E23F}" srcId="{D6AE9535-43BF-4139-BB77-9854431BFFF7}" destId="{7B33C700-E431-4EDC-9F4D-6784787CE5D7}" srcOrd="2" destOrd="0" parTransId="{7268632A-8AEB-4A4C-AECE-0FFE87A07606}" sibTransId="{B50F6FF4-BF04-44CA-8999-1D5DF9512099}"/>
    <dgm:cxn modelId="{C27A8E77-CCFC-4801-B89F-7D643A9C3564}" type="presOf" srcId="{0A4F4D69-9645-47E9-9BBE-58D3AFFABB11}" destId="{DAEC72B2-49C0-49D3-AA9C-54A2214BDF9C}" srcOrd="0" destOrd="0" presId="urn:microsoft.com/office/officeart/2005/8/layout/lProcess2"/>
    <dgm:cxn modelId="{EA93979D-F597-48BA-91FB-472EF8CBB6DC}" type="presOf" srcId="{87DC1817-7F62-480E-B8F2-465DC1A7275F}" destId="{41569A7C-6850-4D00-A3F3-075D6AD51926}" srcOrd="0" destOrd="0" presId="urn:microsoft.com/office/officeart/2005/8/layout/lProcess2"/>
    <dgm:cxn modelId="{022099AF-DA8B-4958-B58C-9ECE930B1B30}" srcId="{D688C5EA-AC9B-4EE4-93FB-8E81335DE63C}" destId="{D6AE9535-43BF-4139-BB77-9854431BFFF7}" srcOrd="1" destOrd="0" parTransId="{6376F90E-1A43-4773-B036-2D20B00A8AAB}" sibTransId="{E4ABB763-CA46-4436-843E-E497E91B61F4}"/>
    <dgm:cxn modelId="{F17C8AC1-0B10-44B3-8DF8-980122D17EE6}" type="presOf" srcId="{7B33C700-E431-4EDC-9F4D-6784787CE5D7}" destId="{0D049355-FC56-466A-B29C-D450680A4358}" srcOrd="0" destOrd="0" presId="urn:microsoft.com/office/officeart/2005/8/layout/lProcess2"/>
    <dgm:cxn modelId="{DF5432CD-74EA-4E04-AC7D-085CE01B58F6}" type="presOf" srcId="{D688C5EA-AC9B-4EE4-93FB-8E81335DE63C}" destId="{AFE4084A-538D-4FB0-A6E2-570163DFF953}" srcOrd="0" destOrd="0" presId="urn:microsoft.com/office/officeart/2005/8/layout/lProcess2"/>
    <dgm:cxn modelId="{E8876BD8-03EF-4253-BBF4-55FF35D967F3}" type="presOf" srcId="{D6AE9535-43BF-4139-BB77-9854431BFFF7}" destId="{18BE1BEE-F6FE-47CA-8B6D-0E6151AA4892}" srcOrd="0" destOrd="0" presId="urn:microsoft.com/office/officeart/2005/8/layout/lProcess2"/>
    <dgm:cxn modelId="{F08B2FE0-9673-4C80-A6A5-AAD2FA87F718}" type="presOf" srcId="{8E6B39C7-9252-4DA2-9D75-860650DFD87F}" destId="{862B6679-7C97-4387-BBA3-FE2AB51B4689}" srcOrd="0" destOrd="0" presId="urn:microsoft.com/office/officeart/2005/8/layout/lProcess2"/>
    <dgm:cxn modelId="{C3CA70E0-D2E6-4BA5-A348-7EF3BE26C8AC}" type="presOf" srcId="{D6AE9535-43BF-4139-BB77-9854431BFFF7}" destId="{476BA4B7-73BE-4AA7-A431-F89BFB7C3631}" srcOrd="1" destOrd="0" presId="urn:microsoft.com/office/officeart/2005/8/layout/lProcess2"/>
    <dgm:cxn modelId="{849203E2-3A7F-4553-A310-1ABB37DA5EB5}" type="presOf" srcId="{C1875624-90C1-4988-A0A5-42F3DD9418A8}" destId="{70017948-C5DC-4168-BBEA-A50A2927F7F1}" srcOrd="1" destOrd="0" presId="urn:microsoft.com/office/officeart/2005/8/layout/lProcess2"/>
    <dgm:cxn modelId="{D7FB0AF5-4C20-4EA1-B06D-5623974EE5FA}" srcId="{D6AE9535-43BF-4139-BB77-9854431BFFF7}" destId="{A68670EE-15A9-4FAF-AB74-79834A0722A0}" srcOrd="1" destOrd="0" parTransId="{2C98971F-83A0-4544-9FCF-A9C86F3D61E1}" sibTransId="{FC11254E-7911-423B-8AA5-D813E85BFC0F}"/>
    <dgm:cxn modelId="{ECDFB5FA-EB64-41B0-BED0-8A6C1FB64A0C}" type="presOf" srcId="{C1875624-90C1-4988-A0A5-42F3DD9418A8}" destId="{B517FF2F-46B4-489A-86D9-2308B7CD0D5C}" srcOrd="0" destOrd="0" presId="urn:microsoft.com/office/officeart/2005/8/layout/lProcess2"/>
    <dgm:cxn modelId="{CD193D0A-C6A7-4437-AC8C-EFF12AECE9A1}" type="presParOf" srcId="{AFE4084A-538D-4FB0-A6E2-570163DFF953}" destId="{26869F41-E88E-423E-8820-1E42FF09BFF7}" srcOrd="0" destOrd="0" presId="urn:microsoft.com/office/officeart/2005/8/layout/lProcess2"/>
    <dgm:cxn modelId="{093FB236-DAB2-403B-8D5A-055BEB3E8FC5}" type="presParOf" srcId="{26869F41-E88E-423E-8820-1E42FF09BFF7}" destId="{B517FF2F-46B4-489A-86D9-2308B7CD0D5C}" srcOrd="0" destOrd="0" presId="urn:microsoft.com/office/officeart/2005/8/layout/lProcess2"/>
    <dgm:cxn modelId="{D89836B7-66FC-4793-90DB-D7BCB1621257}" type="presParOf" srcId="{26869F41-E88E-423E-8820-1E42FF09BFF7}" destId="{70017948-C5DC-4168-BBEA-A50A2927F7F1}" srcOrd="1" destOrd="0" presId="urn:microsoft.com/office/officeart/2005/8/layout/lProcess2"/>
    <dgm:cxn modelId="{362F6D7A-7649-4839-9FA6-F1C7E2BD830D}" type="presParOf" srcId="{26869F41-E88E-423E-8820-1E42FF09BFF7}" destId="{E26DC90E-966F-4FA4-8748-36C93EA48D32}" srcOrd="2" destOrd="0" presId="urn:microsoft.com/office/officeart/2005/8/layout/lProcess2"/>
    <dgm:cxn modelId="{36059101-FB07-4D75-8288-53E0E3BA2F8D}" type="presParOf" srcId="{E26DC90E-966F-4FA4-8748-36C93EA48D32}" destId="{62E1B89B-3478-4B6A-8297-9046565FAAEC}" srcOrd="0" destOrd="0" presId="urn:microsoft.com/office/officeart/2005/8/layout/lProcess2"/>
    <dgm:cxn modelId="{1B0DA2BF-CBFA-4472-A1B5-5857EA962295}" type="presParOf" srcId="{62E1B89B-3478-4B6A-8297-9046565FAAEC}" destId="{978F22F3-83CB-42B2-9FD8-367BB41926BA}" srcOrd="0" destOrd="0" presId="urn:microsoft.com/office/officeart/2005/8/layout/lProcess2"/>
    <dgm:cxn modelId="{3A0D1956-720B-4C90-BBB7-1FEBCBABE28B}" type="presParOf" srcId="{62E1B89B-3478-4B6A-8297-9046565FAAEC}" destId="{13974C5A-8498-4C1C-8C78-EAC3E7620AC9}" srcOrd="1" destOrd="0" presId="urn:microsoft.com/office/officeart/2005/8/layout/lProcess2"/>
    <dgm:cxn modelId="{F21D63BE-97FA-43D8-B5D3-CBDA1161DB1D}" type="presParOf" srcId="{62E1B89B-3478-4B6A-8297-9046565FAAEC}" destId="{B6AC5405-E178-4CAA-AF2C-C719A2B7BDCE}" srcOrd="2" destOrd="0" presId="urn:microsoft.com/office/officeart/2005/8/layout/lProcess2"/>
    <dgm:cxn modelId="{232AE169-03F3-44CA-B5B5-E324B1B534F7}" type="presParOf" srcId="{62E1B89B-3478-4B6A-8297-9046565FAAEC}" destId="{959D154E-B0E5-4073-BF64-20CEBCBE9C6D}" srcOrd="3" destOrd="0" presId="urn:microsoft.com/office/officeart/2005/8/layout/lProcess2"/>
    <dgm:cxn modelId="{D814084D-0CA3-407A-AB6E-0CD78E6DB363}" type="presParOf" srcId="{62E1B89B-3478-4B6A-8297-9046565FAAEC}" destId="{41569A7C-6850-4D00-A3F3-075D6AD51926}" srcOrd="4" destOrd="0" presId="urn:microsoft.com/office/officeart/2005/8/layout/lProcess2"/>
    <dgm:cxn modelId="{3D334EC4-EEFD-496A-8E8B-8C16E90BA20F}" type="presParOf" srcId="{62E1B89B-3478-4B6A-8297-9046565FAAEC}" destId="{CF03D0B5-9F14-478E-AD73-8B53F7B2733D}" srcOrd="5" destOrd="0" presId="urn:microsoft.com/office/officeart/2005/8/layout/lProcess2"/>
    <dgm:cxn modelId="{6446B533-BB9A-4E2A-9670-3F070E786811}" type="presParOf" srcId="{62E1B89B-3478-4B6A-8297-9046565FAAEC}" destId="{D686BEB3-88B8-4127-8437-3E3FFCFD0B4A}" srcOrd="6" destOrd="0" presId="urn:microsoft.com/office/officeart/2005/8/layout/lProcess2"/>
    <dgm:cxn modelId="{65760F0B-6B75-4943-ABDC-9C2CA32F09D9}" type="presParOf" srcId="{AFE4084A-538D-4FB0-A6E2-570163DFF953}" destId="{702F4AAF-06AD-4B2A-AE92-7DA211825C7D}" srcOrd="1" destOrd="0" presId="urn:microsoft.com/office/officeart/2005/8/layout/lProcess2"/>
    <dgm:cxn modelId="{1E6D4327-6707-4F97-AC47-3513E3B06D54}" type="presParOf" srcId="{AFE4084A-538D-4FB0-A6E2-570163DFF953}" destId="{9802B2D0-4305-4399-B867-B3597D3794B5}" srcOrd="2" destOrd="0" presId="urn:microsoft.com/office/officeart/2005/8/layout/lProcess2"/>
    <dgm:cxn modelId="{267449D0-F7FF-4B6C-9316-88D721AAB7A1}" type="presParOf" srcId="{9802B2D0-4305-4399-B867-B3597D3794B5}" destId="{18BE1BEE-F6FE-47CA-8B6D-0E6151AA4892}" srcOrd="0" destOrd="0" presId="urn:microsoft.com/office/officeart/2005/8/layout/lProcess2"/>
    <dgm:cxn modelId="{59BE3975-202A-446D-BFCA-AB4E8242A72E}" type="presParOf" srcId="{9802B2D0-4305-4399-B867-B3597D3794B5}" destId="{476BA4B7-73BE-4AA7-A431-F89BFB7C3631}" srcOrd="1" destOrd="0" presId="urn:microsoft.com/office/officeart/2005/8/layout/lProcess2"/>
    <dgm:cxn modelId="{AD685635-EF89-4E8F-B388-5E79A11D98D2}" type="presParOf" srcId="{9802B2D0-4305-4399-B867-B3597D3794B5}" destId="{4C2AEF91-FE0D-4A3B-BBB8-826B2AA13E6F}" srcOrd="2" destOrd="0" presId="urn:microsoft.com/office/officeart/2005/8/layout/lProcess2"/>
    <dgm:cxn modelId="{BB0CED06-887F-451B-8F6E-68E3CD35932A}" type="presParOf" srcId="{4C2AEF91-FE0D-4A3B-BBB8-826B2AA13E6F}" destId="{F6A1C5B6-1FCA-469F-9922-EA0E69316B0B}" srcOrd="0" destOrd="0" presId="urn:microsoft.com/office/officeart/2005/8/layout/lProcess2"/>
    <dgm:cxn modelId="{0525BB99-4AC6-4305-9412-59AE2B464A33}" type="presParOf" srcId="{F6A1C5B6-1FCA-469F-9922-EA0E69316B0B}" destId="{DAEC72B2-49C0-49D3-AA9C-54A2214BDF9C}" srcOrd="0" destOrd="0" presId="urn:microsoft.com/office/officeart/2005/8/layout/lProcess2"/>
    <dgm:cxn modelId="{58871429-8149-48B0-99DD-D54C8DC2BB63}" type="presParOf" srcId="{F6A1C5B6-1FCA-469F-9922-EA0E69316B0B}" destId="{2E0B2564-B0D2-467D-A68A-86CBBED9510F}" srcOrd="1" destOrd="0" presId="urn:microsoft.com/office/officeart/2005/8/layout/lProcess2"/>
    <dgm:cxn modelId="{C28B7E1D-1692-467C-B74C-F882A1C313AE}" type="presParOf" srcId="{F6A1C5B6-1FCA-469F-9922-EA0E69316B0B}" destId="{6B003BFD-4383-4859-B68A-2CDF5F7C9DA5}" srcOrd="2" destOrd="0" presId="urn:microsoft.com/office/officeart/2005/8/layout/lProcess2"/>
    <dgm:cxn modelId="{9F0A41FE-C6F2-40A8-BEA8-E97C91F812ED}" type="presParOf" srcId="{F6A1C5B6-1FCA-469F-9922-EA0E69316B0B}" destId="{7357A074-5DA7-4C5F-ADFB-3D9287DBCAB0}" srcOrd="3" destOrd="0" presId="urn:microsoft.com/office/officeart/2005/8/layout/lProcess2"/>
    <dgm:cxn modelId="{3BD31489-4EFC-4843-AF73-38C05418B131}" type="presParOf" srcId="{F6A1C5B6-1FCA-469F-9922-EA0E69316B0B}" destId="{0D049355-FC56-466A-B29C-D450680A4358}" srcOrd="4" destOrd="0" presId="urn:microsoft.com/office/officeart/2005/8/layout/lProcess2"/>
    <dgm:cxn modelId="{4D383583-BB6E-4C1B-8B23-3790500F82B5}" type="presParOf" srcId="{F6A1C5B6-1FCA-469F-9922-EA0E69316B0B}" destId="{791227E6-2E7B-403A-B1C1-C88EFEF5A647}" srcOrd="5" destOrd="0" presId="urn:microsoft.com/office/officeart/2005/8/layout/lProcess2"/>
    <dgm:cxn modelId="{5FD57FE4-A184-4968-A6A1-42B8F535617B}" type="presParOf" srcId="{F6A1C5B6-1FCA-469F-9922-EA0E69316B0B}" destId="{862B6679-7C97-4387-BBA3-FE2AB51B4689}" srcOrd="6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17FF2F-46B4-489A-86D9-2308B7CD0D5C}">
      <dsp:nvSpPr>
        <dsp:cNvPr id="0" name=""/>
        <dsp:cNvSpPr/>
      </dsp:nvSpPr>
      <dsp:spPr>
        <a:xfrm>
          <a:off x="42182" y="0"/>
          <a:ext cx="3913187" cy="4916966"/>
        </a:xfrm>
        <a:prstGeom prst="rect">
          <a:avLst/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Monotherapy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ts val="1800"/>
            </a:spcAft>
            <a:buNone/>
          </a:pPr>
          <a:r>
            <a:rPr lang="en-US" sz="1800" kern="1200"/>
            <a:t>Olutasidenib 150 mg BID</a:t>
          </a:r>
          <a:endParaRPr lang="en-US" sz="2000" kern="1200"/>
        </a:p>
      </dsp:txBody>
      <dsp:txXfrm>
        <a:off x="42182" y="0"/>
        <a:ext cx="3913187" cy="1475089"/>
      </dsp:txXfrm>
    </dsp:sp>
    <dsp:sp modelId="{978F22F3-83CB-42B2-9FD8-367BB41926BA}">
      <dsp:nvSpPr>
        <dsp:cNvPr id="0" name=""/>
        <dsp:cNvSpPr/>
      </dsp:nvSpPr>
      <dsp:spPr>
        <a:xfrm>
          <a:off x="395386" y="1475374"/>
          <a:ext cx="3130550" cy="703070"/>
        </a:xfrm>
        <a:prstGeom prst="rect">
          <a:avLst/>
        </a:prstGeom>
        <a:solidFill>
          <a:schemeClr val="accent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1</a:t>
          </a:r>
          <a:r>
            <a:rPr lang="en-US" sz="1600" kern="1200"/>
            <a:t>: R/R AML (N = 153)</a:t>
          </a:r>
        </a:p>
      </dsp:txBody>
      <dsp:txXfrm>
        <a:off x="395386" y="1475374"/>
        <a:ext cx="3130550" cy="703070"/>
      </dsp:txXfrm>
    </dsp:sp>
    <dsp:sp modelId="{B6AC5405-E178-4CAA-AF2C-C719A2B7BDCE}">
      <dsp:nvSpPr>
        <dsp:cNvPr id="0" name=""/>
        <dsp:cNvSpPr/>
      </dsp:nvSpPr>
      <dsp:spPr>
        <a:xfrm>
          <a:off x="395386" y="2306170"/>
          <a:ext cx="3130550" cy="70307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2</a:t>
          </a:r>
          <a:r>
            <a:rPr lang="en-US" sz="1600" kern="1200"/>
            <a:t>: MRD-positive AML     in CR/CRi</a:t>
          </a:r>
        </a:p>
      </dsp:txBody>
      <dsp:txXfrm>
        <a:off x="395386" y="2306170"/>
        <a:ext cx="3130550" cy="703070"/>
      </dsp:txXfrm>
    </dsp:sp>
    <dsp:sp modelId="{41569A7C-6850-4D00-A3F3-075D6AD51926}">
      <dsp:nvSpPr>
        <dsp:cNvPr id="0" name=""/>
        <dsp:cNvSpPr/>
      </dsp:nvSpPr>
      <dsp:spPr>
        <a:xfrm>
          <a:off x="395386" y="3136966"/>
          <a:ext cx="3130550" cy="70307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8575" rIns="38100" bIns="28575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Cohort 3</a:t>
          </a:r>
          <a:r>
            <a:rPr lang="en-US" sz="1500" kern="1200" dirty="0"/>
            <a:t>: R/R AML/MDS treated with prior IDH1 inhibitors; standard treatments contraindicated</a:t>
          </a:r>
        </a:p>
      </dsp:txBody>
      <dsp:txXfrm>
        <a:off x="395386" y="3136966"/>
        <a:ext cx="3130550" cy="703070"/>
      </dsp:txXfrm>
    </dsp:sp>
    <dsp:sp modelId="{D686BEB3-88B8-4127-8437-3E3FFCFD0B4A}">
      <dsp:nvSpPr>
        <dsp:cNvPr id="0" name=""/>
        <dsp:cNvSpPr/>
      </dsp:nvSpPr>
      <dsp:spPr>
        <a:xfrm>
          <a:off x="395386" y="3967762"/>
          <a:ext cx="3130550" cy="703070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7</a:t>
          </a:r>
          <a:r>
            <a:rPr lang="en-US" sz="1600" kern="1200"/>
            <a:t>: ND AML; standard treatments contraindicated</a:t>
          </a:r>
        </a:p>
      </dsp:txBody>
      <dsp:txXfrm>
        <a:off x="395386" y="3967762"/>
        <a:ext cx="3130550" cy="703070"/>
      </dsp:txXfrm>
    </dsp:sp>
    <dsp:sp modelId="{18BE1BEE-F6FE-47CA-8B6D-0E6151AA4892}">
      <dsp:nvSpPr>
        <dsp:cNvPr id="0" name=""/>
        <dsp:cNvSpPr/>
      </dsp:nvSpPr>
      <dsp:spPr>
        <a:xfrm>
          <a:off x="4214812" y="0"/>
          <a:ext cx="3913187" cy="4916966"/>
        </a:xfrm>
        <a:prstGeom prst="rect">
          <a:avLst/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3820" tIns="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/>
            <a:t>Combination Therapy</a:t>
          </a:r>
        </a:p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/>
            <a:t>Olutasidenib 150 mg BID + Aza</a:t>
          </a:r>
        </a:p>
      </dsp:txBody>
      <dsp:txXfrm>
        <a:off x="4214812" y="0"/>
        <a:ext cx="3913187" cy="1475089"/>
      </dsp:txXfrm>
    </dsp:sp>
    <dsp:sp modelId="{DAEC72B2-49C0-49D3-AA9C-54A2214BDF9C}">
      <dsp:nvSpPr>
        <dsp:cNvPr id="0" name=""/>
        <dsp:cNvSpPr/>
      </dsp:nvSpPr>
      <dsp:spPr>
        <a:xfrm>
          <a:off x="4602063" y="1475374"/>
          <a:ext cx="3130550" cy="703070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Cohort 4</a:t>
          </a:r>
          <a:r>
            <a:rPr lang="en-US" sz="1600" kern="1200" dirty="0"/>
            <a:t>: R/R AML/MDS with no prior HMA or IDH1 inhibitor</a:t>
          </a:r>
        </a:p>
      </dsp:txBody>
      <dsp:txXfrm>
        <a:off x="4602063" y="1475374"/>
        <a:ext cx="3130550" cy="703070"/>
      </dsp:txXfrm>
    </dsp:sp>
    <dsp:sp modelId="{6B003BFD-4383-4859-B68A-2CDF5F7C9DA5}">
      <dsp:nvSpPr>
        <dsp:cNvPr id="0" name=""/>
        <dsp:cNvSpPr/>
      </dsp:nvSpPr>
      <dsp:spPr>
        <a:xfrm>
          <a:off x="4602063" y="2306170"/>
          <a:ext cx="3130550" cy="703070"/>
        </a:xfrm>
        <a:prstGeom prst="rect">
          <a:avLst/>
        </a:prstGeom>
        <a:solidFill>
          <a:schemeClr val="accent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5</a:t>
          </a:r>
          <a:r>
            <a:rPr lang="en-US" sz="1600" b="0" kern="1200"/>
            <a:t>: R/R AML/MDS with progression on HMA</a:t>
          </a:r>
        </a:p>
      </dsp:txBody>
      <dsp:txXfrm>
        <a:off x="4602063" y="2306170"/>
        <a:ext cx="3130550" cy="703070"/>
      </dsp:txXfrm>
    </dsp:sp>
    <dsp:sp modelId="{0D049355-FC56-466A-B29C-D450680A4358}">
      <dsp:nvSpPr>
        <dsp:cNvPr id="0" name=""/>
        <dsp:cNvSpPr/>
      </dsp:nvSpPr>
      <dsp:spPr>
        <a:xfrm>
          <a:off x="4602063" y="3136966"/>
          <a:ext cx="3130550" cy="703070"/>
        </a:xfrm>
        <a:prstGeom prst="rect">
          <a:avLst/>
        </a:prstGeom>
        <a:solidFill>
          <a:schemeClr val="bg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6</a:t>
          </a:r>
          <a:r>
            <a:rPr lang="en-US" sz="1600" kern="1200"/>
            <a:t>: R/R AML most recently treated with IDH1 inhibitor monotherapy</a:t>
          </a:r>
        </a:p>
      </dsp:txBody>
      <dsp:txXfrm>
        <a:off x="4602063" y="3136966"/>
        <a:ext cx="3130550" cy="703070"/>
      </dsp:txXfrm>
    </dsp:sp>
    <dsp:sp modelId="{862B6679-7C97-4387-BBA3-FE2AB51B4689}">
      <dsp:nvSpPr>
        <dsp:cNvPr id="0" name=""/>
        <dsp:cNvSpPr/>
      </dsp:nvSpPr>
      <dsp:spPr>
        <a:xfrm>
          <a:off x="4602063" y="3967762"/>
          <a:ext cx="3130550" cy="703070"/>
        </a:xfrm>
        <a:prstGeom prst="rect">
          <a:avLst/>
        </a:prstGeom>
        <a:solidFill>
          <a:schemeClr val="accent2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30480" rIns="4064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/>
            <a:t>Cohort 8</a:t>
          </a:r>
          <a:r>
            <a:rPr lang="en-US" sz="1600" kern="1200"/>
            <a:t>: ND AML eligible for frontline Aza</a:t>
          </a:r>
        </a:p>
      </dsp:txBody>
      <dsp:txXfrm>
        <a:off x="4602063" y="3967762"/>
        <a:ext cx="3130550" cy="70307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AD032A-AB73-4CDA-8AC1-0280A2893183}" type="datetimeFigureOut">
              <a:rPr lang="en-US" smtClean="0"/>
              <a:t>4/1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4A67A7-2416-47EE-B7EE-3B7E3B9750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50953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C1B563-0A95-CE47-A4A0-A51F3D1B17F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9229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639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547522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20110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2939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ing at the responses in the ND AML cohort, our overall composite remission was 96.2% with 85% of those patients MRD negative by flow cytometry. The swimmer’s plot on the left with IDH1 mutated AML on the top and IDH2 mutated on the bottom, we can see 3 patients from each cohort have gone on to stem cell transplant with 8 patients (30%) remaining on study. The Purple and Green bullets on the left are patients wo received prior IDHi or HMA for prior MDS.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- 4 patients (15%) with prior HMA</a:t>
            </a:r>
          </a:p>
          <a:p>
            <a:r>
              <a:rPr lang="en-US" dirty="0"/>
              <a:t>- 6 patients (22%) proceeded to SCT </a:t>
            </a:r>
          </a:p>
          <a:p>
            <a:r>
              <a:rPr lang="en-US" dirty="0"/>
              <a:t>- 4 deaths </a:t>
            </a:r>
            <a:r>
              <a:rPr lang="en-US" dirty="0">
                <a:sym typeface="Wingdings" pitchFamily="2" charset="2"/>
              </a:rPr>
              <a:t> Cardiac arrest (unrelated), patient withdrawal (hospice, de-</a:t>
            </a:r>
            <a:r>
              <a:rPr lang="en-US" dirty="0" err="1">
                <a:sym typeface="Wingdings" pitchFamily="2" charset="2"/>
              </a:rPr>
              <a:t>conditioining</a:t>
            </a:r>
            <a:r>
              <a:rPr lang="en-US" dirty="0">
                <a:sym typeface="Wingdings" pitchFamily="2" charset="2"/>
              </a:rPr>
              <a:t>, 2 cycles), Relapse, progressive deconditioning (likely relapse)  all 4 had s/t A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0662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ooking at the responses in the ND AML cohort, our overall composite remission was 96.2% with 85% of those patients MRD negative by flow cytometry. The swimmer’s plot on the left with IDH1 mutated AML on the top and IDH2 mutated on the bottom, we can see 3 patients from each cohort have gone on to stem cell transplant with 8 patients (30%) remaining on study. The Purple and Green bullets on the left are patients wo received prior IDHi or HMA for prior MDS. 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- 4 patients (15%) with prior HMA</a:t>
            </a:r>
          </a:p>
          <a:p>
            <a:r>
              <a:rPr lang="en-US" dirty="0"/>
              <a:t>- 6 patients (22%) proceeded to SCT </a:t>
            </a:r>
          </a:p>
          <a:p>
            <a:r>
              <a:rPr lang="en-US" dirty="0"/>
              <a:t>- 4 deaths </a:t>
            </a:r>
            <a:r>
              <a:rPr lang="en-US" dirty="0">
                <a:sym typeface="Wingdings" pitchFamily="2" charset="2"/>
              </a:rPr>
              <a:t> Cardiac arrest (unrelated), patient withdrawal (hospice, de-</a:t>
            </a:r>
            <a:r>
              <a:rPr lang="en-US" dirty="0" err="1">
                <a:sym typeface="Wingdings" pitchFamily="2" charset="2"/>
              </a:rPr>
              <a:t>conditioining</a:t>
            </a:r>
            <a:r>
              <a:rPr lang="en-US" dirty="0">
                <a:sym typeface="Wingdings" pitchFamily="2" charset="2"/>
              </a:rPr>
              <a:t>, 2 cycles), Relapse, progressive deconditioning (likely relapse)  all 4 had s/t AM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48751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verall we confirmed a reasonable safety and tolerability for this triplet study with impressive CRc rates in both ND and RR AML especially considering extensive prior treatment in the RR cohor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1951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New</a:t>
            </a:r>
          </a:p>
          <a:p>
            <a:endParaRPr lang="en-US" sz="1800" b="1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en-US" sz="1800" b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chema is based on ClinicalTrials.gov description; diagram was redrawn from August 2023 corporate presentation https://www.rigel.com/investors/news-events/events-presentations</a:t>
            </a:r>
            <a:endParaRPr lang="en-US" sz="1800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6416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832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0D49E0-D58C-4D48-9D62-1F7553BE0252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8325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9815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20" indent="-18122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5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B1A0FF-FFD2-A845-BF33-EACA18EA1ED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5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6479EEB-7E23-5533-29C0-F1B7FD023024}"/>
              </a:ext>
            </a:extLst>
          </p:cNvPr>
          <p:cNvSpPr txBox="1"/>
          <p:nvPr/>
        </p:nvSpPr>
        <p:spPr>
          <a:xfrm>
            <a:off x="0" y="2288961"/>
            <a:ext cx="685800" cy="415498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De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otton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/ p8/¶1/ln1 (CI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E6E19A-C17C-2526-B101-BA198AA8ED47}"/>
              </a:ext>
            </a:extLst>
          </p:cNvPr>
          <p:cNvCxnSpPr/>
          <p:nvPr/>
        </p:nvCxnSpPr>
        <p:spPr>
          <a:xfrm>
            <a:off x="685800" y="2496710"/>
            <a:ext cx="25245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D2786571-8454-3B0A-849B-2F145194849F}"/>
              </a:ext>
            </a:extLst>
          </p:cNvPr>
          <p:cNvSpPr txBox="1"/>
          <p:nvPr/>
        </p:nvSpPr>
        <p:spPr>
          <a:xfrm>
            <a:off x="6172200" y="2288961"/>
            <a:ext cx="685800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</a:t>
            </a:r>
            <a:r>
              <a:rPr kumimoji="0" lang="en-US" sz="7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bsovo</a:t>
            </a: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I/ p29/Table 16 /row12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95% CR)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77401CF-0CFF-1F2E-DB67-CB2AD7EB9585}"/>
              </a:ext>
            </a:extLst>
          </p:cNvPr>
          <p:cNvCxnSpPr>
            <a:cxnSpLocks/>
          </p:cNvCxnSpPr>
          <p:nvPr/>
        </p:nvCxnSpPr>
        <p:spPr>
          <a:xfrm>
            <a:off x="6011186" y="2498036"/>
            <a:ext cx="161014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08943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2E281B-2797-334E-ADF9-D5C05446A9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30185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665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B1A0FF-FFD2-A845-BF33-EACA18EA1ED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665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39406C4A-17F1-F7E5-3D62-ED28567921B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538555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bbreviations: CR=complete remission; </a:t>
            </a:r>
            <a:r>
              <a:rPr lang="en-GB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i</a:t>
            </a:r>
            <a:r>
              <a:rPr lang="en-GB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CR with incomplete recovery; </a:t>
            </a:r>
            <a:br>
              <a:rPr lang="en-GB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en-GB" dirty="0" err="1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h</a:t>
            </a:r>
            <a:r>
              <a:rPr lang="en-GB" dirty="0"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=CR with partial hematologic recovery;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MA=hypomethylating </a:t>
            </a:r>
            <a:r>
              <a:rPr lang="en-US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g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0D49E0-D58C-4D48-9D62-1F7553BE0252}" type="slidenum">
              <a:rPr kumimoji="0" lang="en-US" sz="2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679402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b="1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From 330499</a:t>
            </a:r>
          </a:p>
          <a:p>
            <a:endParaRPr lang="en-US" sz="1800" b="1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ALL, acute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lymphocytic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leukemia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; DLBCL, diffuse large B-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cell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lymphoma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; MM/PCD, multiple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myeloma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/plasma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cell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 </a:t>
            </a:r>
            <a:r>
              <a:rPr lang="fr-FR" b="0" i="0" err="1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disorders</a:t>
            </a:r>
            <a:r>
              <a:rPr lang="fr-FR" b="0" i="0">
                <a:solidFill>
                  <a:srgbClr val="000000"/>
                </a:solidFill>
                <a:effectLst/>
                <a:latin typeface="Source Sans Pro" panose="020B0503030403020204" pitchFamily="34" charset="0"/>
              </a:rPr>
              <a:t>; </a:t>
            </a:r>
            <a:r>
              <a:rPr lang="en-US"/>
              <a:t>MPAL, mixed-phenotype acute leukemia.</a:t>
            </a:r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30168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2EF1ED-33D8-4194-BAF8-E6BC5B51ED0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184621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spcBef>
                <a:spcPts val="432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effectLst/>
                <a:latin typeface="Calibri"/>
                <a:ea typeface="Geneva"/>
                <a:cs typeface="Calibri"/>
              </a:rPr>
              <a:t>As of July 24, 2023, 94 patients received ≥1 dose of </a:t>
            </a:r>
            <a:r>
              <a:rPr lang="en-US" sz="1400" dirty="0" err="1">
                <a:effectLst/>
                <a:latin typeface="Calibri"/>
                <a:ea typeface="Geneva"/>
                <a:cs typeface="Calibri"/>
              </a:rPr>
              <a:t>revumenib</a:t>
            </a:r>
            <a:r>
              <a:rPr lang="en-US" sz="1400" dirty="0">
                <a:effectLst/>
                <a:latin typeface="Calibri"/>
                <a:ea typeface="Geneva"/>
                <a:cs typeface="Calibri"/>
              </a:rPr>
              <a:t> at a recommended phase 2 dose of 163 mg (or 95 mg/m</a:t>
            </a:r>
            <a:r>
              <a:rPr lang="en-US" sz="1400" baseline="30000" dirty="0">
                <a:effectLst/>
                <a:latin typeface="Calibri"/>
                <a:ea typeface="Geneva"/>
                <a:cs typeface="Calibri"/>
              </a:rPr>
              <a:t>2</a:t>
            </a:r>
            <a:r>
              <a:rPr lang="en-US" sz="1400" dirty="0">
                <a:effectLst/>
                <a:latin typeface="Calibri"/>
                <a:ea typeface="Geneva"/>
                <a:cs typeface="Calibri"/>
              </a:rPr>
              <a:t> if body weight &lt;40 kg) and were included in the </a:t>
            </a:r>
            <a:r>
              <a:rPr lang="en-US" sz="1400" i="1" dirty="0">
                <a:effectLst/>
                <a:latin typeface="Calibri"/>
                <a:ea typeface="Geneva"/>
                <a:cs typeface="Calibri"/>
              </a:rPr>
              <a:t>KMT2Ar</a:t>
            </a:r>
            <a:r>
              <a:rPr lang="en-US" sz="1400" dirty="0">
                <a:latin typeface="Calibri"/>
                <a:ea typeface="Geneva"/>
                <a:cs typeface="Calibri"/>
              </a:rPr>
              <a:t> safety population</a:t>
            </a:r>
            <a:endParaRPr lang="en-US" sz="1400" dirty="0">
              <a:effectLst/>
              <a:latin typeface="Calibri" panose="020F0502020204030204" pitchFamily="34" charset="0"/>
            </a:endParaRPr>
          </a:p>
          <a:p>
            <a:pPr marL="285750" indent="-285750">
              <a:spcBef>
                <a:spcPts val="432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Calibri"/>
                <a:ea typeface="Geneva"/>
                <a:cs typeface="Calibri"/>
              </a:rPr>
              <a:t>At the time of the pre-specified interim analysis, 57</a:t>
            </a:r>
            <a:r>
              <a:rPr lang="en-US" sz="1400" dirty="0">
                <a:effectLst/>
                <a:latin typeface="Calibri"/>
                <a:ea typeface="Geneva"/>
                <a:cs typeface="Calibri"/>
              </a:rPr>
              <a:t> </a:t>
            </a:r>
            <a:r>
              <a:rPr lang="en-US" sz="1400" dirty="0">
                <a:latin typeface="Calibri"/>
                <a:ea typeface="Geneva"/>
                <a:cs typeface="Calibri"/>
              </a:rPr>
              <a:t>patients had the opportunity for sufficient follow-up to evaluate for efficacy </a:t>
            </a:r>
          </a:p>
          <a:p>
            <a:pPr marL="226695" lvl="2" indent="0">
              <a:spcBef>
                <a:spcPts val="1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1400" dirty="0">
              <a:solidFill>
                <a:srgbClr val="FFFFFF"/>
              </a:solidFill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32236-04C1-194D-9422-81657BE958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74280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The majority of patients had AML.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i="1"/>
              <a:t>RAS</a:t>
            </a:r>
            <a:r>
              <a:rPr lang="en-US" sz="1200"/>
              <a:t> was the most common co-mutation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A quarter of patients were primary refractory and had never achieved a remission, and over half of pts were refractory to their last salvage therapy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Patients were heavily pretreated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About half of patients had 3 or more prior lines of therapy, the majority had prior </a:t>
            </a:r>
            <a:r>
              <a:rPr lang="en-US" sz="1200" err="1"/>
              <a:t>venetoclax</a:t>
            </a:r>
            <a:r>
              <a:rPr lang="en-US" sz="1200"/>
              <a:t>, and about half of patients had prior transplant, </a:t>
            </a:r>
            <a:r>
              <a:rPr lang="en-US" sz="1200" b="1"/>
              <a:t>with about 10% with two prior transplants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2931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92500" lnSpcReduction="10000"/>
          </a:bodyPr>
          <a:lstStyle/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With a median follow-up time of 6.1 months in the efficacy population, </a:t>
            </a:r>
            <a:r>
              <a:rPr lang="en-US" dirty="0">
                <a:solidFill>
                  <a:schemeClr val="tx1"/>
                </a:solidFill>
              </a:rPr>
              <a:t>the ORR was </a:t>
            </a:r>
            <a:r>
              <a:rPr lang="en-US" sz="1200" spc="-10" dirty="0"/>
              <a:t>63.2% (95% CI, 49.3-75.6)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/>
              <a:t>The primary endpoint of the pivotal phase 2 study was met </a:t>
            </a:r>
            <a:r>
              <a:rPr lang="en-US" sz="1200" spc="-10" dirty="0"/>
              <a:t>with a </a:t>
            </a:r>
            <a:r>
              <a:rPr lang="en-US" sz="1200" spc="-10" dirty="0" err="1"/>
              <a:t>CR+CRh</a:t>
            </a:r>
            <a:r>
              <a:rPr lang="en-US" sz="1200" spc="-10" dirty="0"/>
              <a:t> rate of 22.8% (13/57; 95% CI, 12.7-35.8) ; </a:t>
            </a:r>
            <a:r>
              <a:rPr lang="en-US" spc="-10" dirty="0"/>
              <a:t>1</a:t>
            </a:r>
            <a:r>
              <a:rPr lang="en-US" sz="1200" spc="-10" dirty="0"/>
              <a:t>-sided </a:t>
            </a:r>
            <a:r>
              <a:rPr lang="en-US" sz="1200" i="1" spc="-10" dirty="0"/>
              <a:t>P</a:t>
            </a:r>
            <a:r>
              <a:rPr lang="en-US" sz="1200" spc="-10" dirty="0"/>
              <a:t>=0.0036</a:t>
            </a:r>
          </a:p>
          <a:p>
            <a:pPr marL="628650" marR="0" lvl="1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dirty="0">
                <a:effectLst/>
                <a:latin typeface="Calibri" panose="020F0502020204030204" pitchFamily="34" charset="0"/>
                <a:ea typeface="PMingLiU" panose="02020500000000000000" pitchFamily="18" charset="-120"/>
              </a:rPr>
              <a:t>The lower bound of the 95% CI was 12.7% and exceeded the null hypothesis of 10% for antileukemic activity.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pc="-10" dirty="0" err="1"/>
              <a:t>CRc</a:t>
            </a:r>
            <a:r>
              <a:rPr lang="en-US" spc="-10" dirty="0"/>
              <a:t> rate was 44%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pc="-10" dirty="0"/>
              <a:t>70% of patients in CR/</a:t>
            </a:r>
            <a:r>
              <a:rPr lang="en-US" spc="-10" dirty="0" err="1"/>
              <a:t>CRh</a:t>
            </a:r>
            <a:r>
              <a:rPr lang="en-US" spc="-10" dirty="0"/>
              <a:t> were MRD negative, with similar MRD negative rates in patients with </a:t>
            </a:r>
            <a:r>
              <a:rPr lang="en-US" spc="-10" dirty="0" err="1"/>
              <a:t>CRc</a:t>
            </a:r>
            <a:r>
              <a:rPr lang="en-US" spc="-10" dirty="0"/>
              <a:t>.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pc="-10" dirty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Overall, responses were observed across all major subgroups, including in patients with or without prior transplant, patients with </a:t>
            </a:r>
            <a:r>
              <a:rPr lang="en-US" sz="1200" dirty="0"/>
              <a:t>relapsed/refractory </a:t>
            </a:r>
            <a:r>
              <a:rPr lang="en-US" dirty="0"/>
              <a:t>disease, and with varying numbers of prior lines of treatment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pc="-10" dirty="0" err="1"/>
              <a:t>CR+CRh</a:t>
            </a:r>
            <a:r>
              <a:rPr lang="en-US" spc="-10" dirty="0"/>
              <a:t> rate was similar in adult (22.7%; 95% CI, 11.5-37.8) and pediatric patients (23.1%; 95% CI, 5.0-53.8)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pc="-10" dirty="0"/>
              <a:t>In general, the number of patients per subgroup are small and the study was not powered to look at difference among subgroups.</a:t>
            </a:r>
            <a:endParaRPr lang="en-US" dirty="0"/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pc="-10" dirty="0"/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pc="-10" dirty="0"/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pc="-10" dirty="0"/>
          </a:p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  <a:p>
            <a:endParaRPr lang="en-US" sz="800" dirty="0">
              <a:solidFill>
                <a:schemeClr val="tx1"/>
              </a:solidFill>
            </a:endParaRPr>
          </a:p>
          <a:p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07133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 fontAlgn="auto">
              <a:spcBef>
                <a:spcPts val="432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/>
              <a:t>Febrile neutropenia was the most frequent ≥grade 3 adverse event; dose reductions because of cytopenias were infrequent (thrombocytopenia [3 patients, 3.2%] and neutropenia [2 patients; 2.1%]) 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≥grade 3 DS occurred in 16%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≥grade 3 QTC occurred in 14%</a:t>
            </a:r>
          </a:p>
          <a:p>
            <a:pPr marL="171450" marR="0" lvl="0" indent="-171450" algn="l" defTabSz="914400" rtl="0" eaLnBrk="0" fontAlgn="auto" latinLnBrk="0" hangingPunct="0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/>
              <a:t>No patients discontinued due to differentiation syndrome, QTc prolongation, or cytopenias</a:t>
            </a:r>
          </a:p>
          <a:p>
            <a:pPr marL="171450" lvl="0" indent="-171450" fontAlgn="auto">
              <a:spcBef>
                <a:spcPts val="432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/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125808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7500" lnSpcReduction="20000"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Arial"/>
                <a:ea typeface="Geneva"/>
                <a:cs typeface="Arial"/>
              </a:rPr>
              <a:t>Revumenib is effective and safe in pediatric and adult patients with R/R </a:t>
            </a:r>
            <a:r>
              <a:rPr lang="en-US" sz="1800" i="1">
                <a:latin typeface="Arial"/>
                <a:ea typeface="Geneva"/>
                <a:cs typeface="Arial"/>
              </a:rPr>
              <a:t>KMT2Ar </a:t>
            </a:r>
            <a:r>
              <a:rPr lang="en-US" sz="1800">
                <a:latin typeface="Arial"/>
                <a:ea typeface="Geneva"/>
                <a:cs typeface="Arial"/>
              </a:rPr>
              <a:t>acute leukemia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Arial"/>
                <a:ea typeface="Geneva"/>
                <a:cs typeface="Arial"/>
              </a:rPr>
              <a:t>Durable MRD-negative remissions were observed in responders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This therapy allowed a high percentage of patients to proceed to potentially curative transplant and resumed revumenib post-transplant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Discontinuations and dose reductions due to adverse events were low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Study was stopped early after meeting the primary efficacy endpoint at the predefined interim analysis</a:t>
            </a:r>
          </a:p>
          <a:p>
            <a:pPr marL="742950" lvl="1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A New Drug Application for </a:t>
            </a:r>
            <a:r>
              <a:rPr lang="en-US" sz="1600" i="1">
                <a:latin typeface="Arial" panose="020B0604020202020204" pitchFamily="34" charset="0"/>
                <a:cs typeface="Arial" panose="020B0604020202020204" pitchFamily="34" charset="0"/>
              </a:rPr>
              <a:t>KMT2Ar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 leukemia has been initiated under the FDA Real-Time Oncology Review program based on these data</a:t>
            </a:r>
          </a:p>
          <a:p>
            <a:pPr marL="285750" lvl="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i="0">
                <a:latin typeface="Arial" panose="020B0604020202020204" pitchFamily="34" charset="0"/>
                <a:cs typeface="Arial" panose="020B0604020202020204" pitchFamily="34" charset="0"/>
              </a:rPr>
              <a:t>The independent NPM1m cohort continues to enroll at all sites</a:t>
            </a:r>
          </a:p>
          <a:p>
            <a:pPr lvl="1">
              <a:spcBef>
                <a:spcPts val="1200"/>
              </a:spcBef>
            </a:pPr>
            <a:endParaRPr lang="en-US" sz="1600">
              <a:highlight>
                <a:srgbClr val="FF00FF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330776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" name="Shape 314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315" name="Shape 315"/>
          <p:cNvSpPr>
            <a:spLocks noGrp="1"/>
          </p:cNvSpPr>
          <p:nvPr>
            <p:ph type="body" sz="quarter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Here are the response rates with the combination of enasidenib plus venetoclax. The overall response rate was 70%, composed mostly of complete remissions. Interestingly, the response rate was higher in patients with R172 mutations, with an overall response rate of 83% compared to 55% in patients with R140 mutations.</a:t>
            </a:r>
          </a:p>
          <a:p>
            <a:endParaRPr/>
          </a:p>
          <a:p>
            <a:r>
              <a:t>The only patient with MDS received less than 1 cycle of treatment and was not evaluable for response. </a:t>
            </a:r>
          </a:p>
        </p:txBody>
      </p:sp>
    </p:spTree>
    <p:extLst>
      <p:ext uri="{BB962C8B-B14F-4D97-AF65-F5344CB8AC3E}">
        <p14:creationId xmlns:p14="http://schemas.microsoft.com/office/powerpoint/2010/main" val="30171457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2E281B-2797-334E-ADF9-D5C05446A96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508513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6695" lvl="2" indent="0">
              <a:spcBef>
                <a:spcPts val="1200"/>
              </a:spcBef>
              <a:buClr>
                <a:schemeClr val="bg2"/>
              </a:buClr>
              <a:buSzPct val="100000"/>
              <a:buFont typeface="Arial" panose="020B0604020202020204" pitchFamily="34" charset="0"/>
              <a:buNone/>
            </a:pPr>
            <a:endParaRPr lang="en-US" sz="1400" dirty="0">
              <a:solidFill>
                <a:srgbClr val="FFFFFF"/>
              </a:solidFill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C832236-04C1-194D-9422-81657BE9589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799376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Notes Placeholder 2">
            <a:extLst>
              <a:ext uri="{FF2B5EF4-FFF2-40B4-BE49-F238E27FC236}">
                <a16:creationId xmlns:a16="http://schemas.microsoft.com/office/drawing/2014/main" id="{65936785-F250-8B4C-E61E-DC993076B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53301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Notes Placeholder 2">
            <a:extLst>
              <a:ext uri="{FF2B5EF4-FFF2-40B4-BE49-F238E27FC236}">
                <a16:creationId xmlns:a16="http://schemas.microsoft.com/office/drawing/2014/main" id="{65936785-F250-8B4C-E61E-DC993076B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1624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Notes Placeholder 2">
            <a:extLst>
              <a:ext uri="{FF2B5EF4-FFF2-40B4-BE49-F238E27FC236}">
                <a16:creationId xmlns:a16="http://schemas.microsoft.com/office/drawing/2014/main" id="{65936785-F250-8B4C-E61E-DC993076B5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8182" y="4415791"/>
            <a:ext cx="5505450" cy="4183380"/>
          </a:xfrm>
        </p:spPr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80571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5293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87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01309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65111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54574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1240" indent="-181240">
              <a:buFont typeface="Arial" panose="020B0604020202020204" pitchFamily="34" charset="0"/>
              <a:buChar char="•"/>
            </a:pPr>
            <a:endParaRPr lang="en-US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99AE2-B724-42EA-BA0A-BB421B06DDC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7666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emf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7.png"/><Relationship Id="rId4" Type="http://schemas.microsoft.com/office/2007/relationships/hdphoto" Target="../media/hdphoto2.wdp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microsoft.com/office/2007/relationships/hdphoto" Target="../media/hdphoto2.wdp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microsoft.com/office/2007/relationships/hdphoto" Target="../media/hdphoto2.wdp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microsoft.com/office/2007/relationships/hdphoto" Target="../media/hdphoto2.wdp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igel.com/" TargetMode="External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microsoft.com/office/2007/relationships/hdphoto" Target="../media/hdphoto2.wdp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6" Type="http://schemas.microsoft.com/office/2007/relationships/hdphoto" Target="../media/hdphoto1.wdp"/><Relationship Id="rId5" Type="http://schemas.openxmlformats.org/officeDocument/2006/relationships/image" Target="../media/image9.png"/><Relationship Id="rId4" Type="http://schemas.microsoft.com/office/2007/relationships/hdphoto" Target="../media/hdphoto2.wdp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9956D0-4BB2-2E62-46CA-9EF1DFF5F67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29F45F-4EED-4AEC-C2D0-324D638C96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A53954-CDDB-4A14-4350-721E5FCD4B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77CBE4F-D749-D811-3518-35B2DE5804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B414A1-9FCD-ADB2-1766-D4EB5389B9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6049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0FDEF6-6AF9-1F23-6AA2-7864659272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E63C845-F54C-79C1-46A2-09E93C3869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A518071-1409-D9AD-1946-73809FB4A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3D5FAF-677C-1A94-D899-084A3EC6AD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237402-45F2-2E20-1407-2B447CB79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1440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09F2671-D48E-48D2-9185-3C2F84DBD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6931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09F2671-D48E-48D2-9185-3C2F84DBD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7D512E3-19F3-4F51-93F8-BEA9344AC27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CAE7E6"/>
          </a:solidFill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l" defTabSz="457200">
              <a:spcBef>
                <a:spcPts val="1200"/>
              </a:spcBef>
              <a:buFontTx/>
              <a:buNone/>
            </a:pPr>
            <a:endParaRPr lang="en-US" sz="2400" b="1" i="0" baseline="0">
              <a:solidFill>
                <a:srgbClr val="333333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2E09FE9-29C8-4C57-9846-7A5DC35AEBA3}"/>
              </a:ext>
            </a:extLst>
          </p:cNvPr>
          <p:cNvGrpSpPr/>
          <p:nvPr userDrawn="1"/>
        </p:nvGrpSpPr>
        <p:grpSpPr>
          <a:xfrm>
            <a:off x="0" y="0"/>
            <a:ext cx="12204700" cy="885468"/>
            <a:chOff x="0" y="0"/>
            <a:chExt cx="12204700" cy="88546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A7CD3AF-FF0F-4BC8-A451-3EFCB4B92ACA}"/>
                </a:ext>
              </a:extLst>
            </p:cNvPr>
            <p:cNvSpPr/>
            <p:nvPr userDrawn="1"/>
          </p:nvSpPr>
          <p:spPr>
            <a:xfrm>
              <a:off x="0" y="0"/>
              <a:ext cx="12192000" cy="874395"/>
            </a:xfrm>
            <a:prstGeom prst="rect">
              <a:avLst/>
            </a:prstGeom>
            <a:gradFill flip="none" rotWithShape="1">
              <a:gsLst>
                <a:gs pos="25000">
                  <a:srgbClr val="18A9C4"/>
                </a:gs>
                <a:gs pos="3000">
                  <a:srgbClr val="17BDCD"/>
                </a:gs>
                <a:gs pos="40000">
                  <a:srgbClr val="1A94BC"/>
                </a:gs>
                <a:gs pos="85000">
                  <a:srgbClr val="1175B4"/>
                </a:gs>
                <a:gs pos="58000">
                  <a:srgbClr val="1C8BB8"/>
                </a:gs>
              </a:gsLst>
              <a:lin ang="18900000" scaled="1"/>
              <a:tileRect/>
            </a:gradFill>
          </p:spPr>
          <p:txBody>
            <a:bodyPr rtlCol="0" anchor="ctr">
              <a:noAutofit/>
            </a:bodyPr>
            <a:lstStyle/>
            <a:p>
              <a:pPr marL="173038" indent="-173038" algn="l" defTabSz="457200">
                <a:spcBef>
                  <a:spcPts val="1200"/>
                </a:spcBef>
                <a:buFont typeface="Arial"/>
                <a:buChar char="•"/>
              </a:pPr>
              <a:endParaRPr lang="en-US" sz="1600">
                <a:solidFill>
                  <a:srgbClr val="333333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E1E1F51-66E1-4F51-804A-CF50C3247E3D}"/>
                </a:ext>
              </a:extLst>
            </p:cNvPr>
            <p:cNvSpPr/>
            <p:nvPr userDrawn="1"/>
          </p:nvSpPr>
          <p:spPr>
            <a:xfrm>
              <a:off x="12700" y="11073"/>
              <a:ext cx="12192000" cy="874395"/>
            </a:xfrm>
            <a:prstGeom prst="rect">
              <a:avLst/>
            </a:prstGeom>
            <a:gradFill flip="none" rotWithShape="1">
              <a:gsLst>
                <a:gs pos="25000">
                  <a:srgbClr val="18A9C4">
                    <a:alpha val="0"/>
                  </a:srgbClr>
                </a:gs>
                <a:gs pos="3000">
                  <a:srgbClr val="17BDCD">
                    <a:alpha val="0"/>
                  </a:srgbClr>
                </a:gs>
                <a:gs pos="40000">
                  <a:srgbClr val="1A94BC">
                    <a:alpha val="0"/>
                  </a:srgbClr>
                </a:gs>
                <a:gs pos="85000">
                  <a:srgbClr val="1175B4">
                    <a:alpha val="61000"/>
                  </a:srgbClr>
                </a:gs>
                <a:gs pos="58000">
                  <a:srgbClr val="1C8BB8">
                    <a:alpha val="0"/>
                  </a:srgbClr>
                </a:gs>
              </a:gsLst>
              <a:lin ang="18900000" scaled="1"/>
              <a:tileRect/>
            </a:gradFill>
          </p:spPr>
          <p:txBody>
            <a:bodyPr rtlCol="0" anchor="ctr">
              <a:noAutofit/>
            </a:bodyPr>
            <a:lstStyle/>
            <a:p>
              <a:pPr marL="173038" indent="-173038" algn="l" defTabSz="457200">
                <a:spcBef>
                  <a:spcPts val="1200"/>
                </a:spcBef>
                <a:buFont typeface="Arial"/>
                <a:buChar char="•"/>
              </a:pPr>
              <a:endParaRPr lang="en-US" sz="1600">
                <a:solidFill>
                  <a:srgbClr val="333333"/>
                </a:solidFill>
              </a:endParaRP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09600" y="1"/>
            <a:ext cx="10998200" cy="874394"/>
          </a:xfrm>
          <a:prstGeom prst="rect">
            <a:avLst/>
          </a:prstGeom>
        </p:spPr>
        <p:txBody>
          <a:bodyPr lIns="0" tIns="91440" rIns="0" bIns="45720" anchor="ctr">
            <a:noAutofit/>
          </a:bodyPr>
          <a:lstStyle>
            <a:lvl1pPr marL="0" algn="l">
              <a:spcBef>
                <a:spcPts val="0"/>
              </a:spcBef>
              <a:defRPr sz="2400" b="1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609600" y="1371918"/>
            <a:ext cx="10998200" cy="4628832"/>
          </a:xfrm>
          <a:prstGeom prst="rect">
            <a:avLst/>
          </a:prstGeom>
        </p:spPr>
        <p:txBody>
          <a:bodyPr lIns="0"/>
          <a:lstStyle>
            <a:lvl1pPr marL="171450" indent="-171450">
              <a:spcBef>
                <a:spcPts val="1200"/>
              </a:spcBef>
              <a:defRPr sz="1600">
                <a:solidFill>
                  <a:schemeClr val="accent6"/>
                </a:solidFill>
              </a:defRPr>
            </a:lvl1pPr>
            <a:lvl2pPr marL="347472" indent="-173736">
              <a:spcBef>
                <a:spcPts val="1200"/>
              </a:spcBef>
              <a:defRPr sz="1600">
                <a:solidFill>
                  <a:schemeClr val="accent6"/>
                </a:solidFill>
              </a:defRPr>
            </a:lvl2pPr>
            <a:lvl3pPr marL="521208" indent="-171450">
              <a:spcBef>
                <a:spcPts val="1200"/>
              </a:spcBef>
              <a:buFont typeface="Courier New" panose="02070309020205020404" pitchFamily="49" charset="0"/>
              <a:buChar char="o"/>
              <a:defRPr sz="1600">
                <a:solidFill>
                  <a:schemeClr val="accent6"/>
                </a:solidFill>
              </a:defRPr>
            </a:lvl3pPr>
            <a:lvl4pPr marL="685800" indent="-173736">
              <a:spcBef>
                <a:spcPts val="1200"/>
              </a:spcBef>
              <a:defRPr sz="1600">
                <a:solidFill>
                  <a:schemeClr val="accent6"/>
                </a:solidFill>
              </a:defRPr>
            </a:lvl4pPr>
            <a:lvl5pPr marL="914400" indent="-173736">
              <a:spcBef>
                <a:spcPts val="1200"/>
              </a:spcBef>
              <a:defRPr sz="160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363A1A10-49CD-4A8A-A306-01DBDBE83A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0200" y="6352439"/>
            <a:ext cx="947600" cy="223229"/>
          </a:xfrm>
          <a:prstGeom prst="rect">
            <a:avLst/>
          </a:prstGeom>
        </p:spPr>
        <p:txBody>
          <a:bodyPr rIns="0" anchor="ctr">
            <a:noAutofit/>
          </a:bodyPr>
          <a:lstStyle>
            <a:lvl1pPr algn="r">
              <a:defRPr sz="1100">
                <a:solidFill>
                  <a:schemeClr val="accent6"/>
                </a:solidFill>
              </a:defRPr>
            </a:lvl1pPr>
          </a:lstStyle>
          <a:p>
            <a:pPr defTabSz="457200"/>
            <a:fld id="{33B05D85-7E10-5D4F-A75C-A55D283254FB}" type="slidenum">
              <a:rPr lang="en-US" smtClean="0"/>
              <a:pPr defTabSz="45720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882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Divider -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0EFD64F-E97D-441B-A383-836B17AB5D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4013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0EFD64F-E97D-441B-A383-836B17AB5D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C4EFB5FB-D145-4BB7-B6D7-054CFB50E6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AFC354B-58AF-40B2-87FF-75479749A93F}"/>
              </a:ext>
            </a:extLst>
          </p:cNvPr>
          <p:cNvSpPr/>
          <p:nvPr userDrawn="1"/>
        </p:nvSpPr>
        <p:spPr>
          <a:xfrm>
            <a:off x="0" y="0"/>
            <a:ext cx="12192001" cy="6857999"/>
          </a:xfrm>
          <a:prstGeom prst="rect">
            <a:avLst/>
          </a:prstGeom>
          <a:gradFill flip="none" rotWithShape="1">
            <a:gsLst>
              <a:gs pos="15000">
                <a:srgbClr val="30CECC">
                  <a:alpha val="63000"/>
                </a:srgbClr>
              </a:gs>
              <a:gs pos="83000">
                <a:schemeClr val="bg2">
                  <a:alpha val="63000"/>
                </a:schemeClr>
              </a:gs>
            </a:gsLst>
            <a:lin ang="174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IN" sz="1400" err="1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243F117-4AE7-41FF-8433-575E4BF14D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3084" y="1359068"/>
            <a:ext cx="10363200" cy="25139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800" b="0" cap="none"/>
            </a:lvl1pPr>
          </a:lstStyle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5CD4253-36CD-4679-BAB8-61FD6D208DDF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963084" y="4032664"/>
            <a:ext cx="10363200" cy="1736312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sp>
        <p:nvSpPr>
          <p:cNvPr id="15" name="Slide Number Placeholder 6">
            <a:extLst>
              <a:ext uri="{FF2B5EF4-FFF2-40B4-BE49-F238E27FC236}">
                <a16:creationId xmlns:a16="http://schemas.microsoft.com/office/drawing/2014/main" id="{AB63FF5A-7826-4280-911B-F6C791290B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60200" y="6352439"/>
            <a:ext cx="947600" cy="223229"/>
          </a:xfrm>
          <a:prstGeom prst="rect">
            <a:avLst/>
          </a:prstGeom>
        </p:spPr>
        <p:txBody>
          <a:bodyPr rIns="0" anchor="ctr">
            <a:noAutofit/>
          </a:bodyPr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pPr defTabSz="457200"/>
            <a:fld id="{33B05D85-7E10-5D4F-A75C-A55D283254FB}" type="slidenum">
              <a:rPr lang="en-US" smtClean="0"/>
              <a:pPr defTabSz="457200"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7F9D54-1D5A-4481-8A1A-E091D5C1C18D}"/>
              </a:ext>
            </a:extLst>
          </p:cNvPr>
          <p:cNvSpPr txBox="1"/>
          <p:nvPr userDrawn="1"/>
        </p:nvSpPr>
        <p:spPr>
          <a:xfrm>
            <a:off x="5515951" y="6292381"/>
            <a:ext cx="1408572" cy="343344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spc="0">
                <a:solidFill>
                  <a:schemeClr val="bg1"/>
                </a:solidFill>
              </a:rPr>
              <a:t>© 2022 Blue Matter</a:t>
            </a:r>
          </a:p>
        </p:txBody>
      </p:sp>
      <p:pic>
        <p:nvPicPr>
          <p:cNvPr id="17" name="pasted-image.pdf">
            <a:extLst>
              <a:ext uri="{FF2B5EF4-FFF2-40B4-BE49-F238E27FC236}">
                <a16:creationId xmlns:a16="http://schemas.microsoft.com/office/drawing/2014/main" id="{84A32A06-2B9D-44AE-99F4-E70F9068F75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1760" y="6234801"/>
            <a:ext cx="1128341" cy="3503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5471947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8" y="12"/>
            <a:ext cx="11582399" cy="135645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2383" y="1457302"/>
            <a:ext cx="11574821" cy="4719671"/>
          </a:xfrm>
        </p:spPr>
        <p:txBody>
          <a:bodyPr/>
          <a:lstStyle>
            <a:lvl1pPr>
              <a:lnSpc>
                <a:spcPct val="85000"/>
              </a:lnSpc>
              <a:spcBef>
                <a:spcPts val="1600"/>
              </a:spcBef>
              <a:buClr>
                <a:schemeClr val="accent1"/>
              </a:buClr>
              <a:defRPr sz="2667"/>
            </a:lvl1pPr>
            <a:lvl2pPr marL="609555" indent="-228584">
              <a:lnSpc>
                <a:spcPct val="85000"/>
              </a:lnSpc>
              <a:spcBef>
                <a:spcPts val="800"/>
              </a:spcBef>
              <a:buClr>
                <a:schemeClr val="tx2"/>
              </a:buClr>
              <a:defRPr/>
            </a:lvl2pPr>
            <a:lvl3pPr marL="914332" indent="-228584">
              <a:lnSpc>
                <a:spcPct val="85000"/>
              </a:lnSpc>
              <a:spcBef>
                <a:spcPts val="800"/>
              </a:spcBef>
              <a:buClr>
                <a:schemeClr val="tx2"/>
              </a:buClr>
              <a:defRPr/>
            </a:lvl3pPr>
            <a:lvl4pPr marL="1142915" indent="-152388">
              <a:lnSpc>
                <a:spcPct val="85000"/>
              </a:lnSpc>
              <a:spcBef>
                <a:spcPts val="800"/>
              </a:spcBef>
              <a:buClr>
                <a:schemeClr val="tx2"/>
              </a:buClr>
              <a:defRPr/>
            </a:lvl4pPr>
            <a:lvl5pPr marL="1371498" indent="-152388">
              <a:lnSpc>
                <a:spcPct val="85000"/>
              </a:lnSpc>
              <a:spcBef>
                <a:spcPts val="800"/>
              </a:spcBef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698932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D062F88-D98D-57ED-507C-6490484E85F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4670C00-81FD-EF8D-7C64-4A5872F5B59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D2E4BE-D05E-C74A-5C1A-638381B751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E14CE5-2965-CF4C-8C41-C0C9327F8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8AF081-10DF-ABF2-049C-19409E82A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4495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104F88-C2E2-C37B-AC4F-BE44049EE02F}"/>
              </a:ext>
            </a:extLst>
          </p:cNvPr>
          <p:cNvSpPr txBox="1"/>
          <p:nvPr userDrawn="1"/>
        </p:nvSpPr>
        <p:spPr>
          <a:xfrm>
            <a:off x="4413326" y="3317358"/>
            <a:ext cx="33653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FFFF00"/>
                </a:highlight>
              </a:rPr>
              <a:t>DO NOT USE</a:t>
            </a:r>
          </a:p>
        </p:txBody>
      </p:sp>
    </p:spTree>
    <p:extLst>
      <p:ext uri="{BB962C8B-B14F-4D97-AF65-F5344CB8AC3E}">
        <p14:creationId xmlns:p14="http://schemas.microsoft.com/office/powerpoint/2010/main" val="2160778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-L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02B670-80F3-0D5B-266F-BD3DB67E21C3}"/>
              </a:ext>
            </a:extLst>
          </p:cNvPr>
          <p:cNvSpPr txBox="1"/>
          <p:nvPr userDrawn="1"/>
        </p:nvSpPr>
        <p:spPr>
          <a:xfrm>
            <a:off x="4413326" y="3317358"/>
            <a:ext cx="33653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FFFF00"/>
                </a:highlight>
              </a:rPr>
              <a:t>DO NOT USE</a:t>
            </a:r>
          </a:p>
        </p:txBody>
      </p:sp>
    </p:spTree>
    <p:extLst>
      <p:ext uri="{BB962C8B-B14F-4D97-AF65-F5344CB8AC3E}">
        <p14:creationId xmlns:p14="http://schemas.microsoft.com/office/powerpoint/2010/main" val="12822621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840469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002109A-F2F6-6C45-914D-AF93255657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7588272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7BF0DEF2-0937-2B41-BBF7-5A925BF5E9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556670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E670ADA5-D249-DF4E-9628-0C44C2A9CE1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764564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DDD00E7-4CA1-B14F-A2A9-B250C76DE6F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564057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4C4A056-767E-7846-ADD6-6B97487845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363540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DF3B2-BE6E-55D2-D08C-7D3359C7CB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AAD3AF-97E3-F6A9-79D3-3043ADE2C5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19DFAB-D0C7-0A89-9D71-A4902D3D2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F70BBCD-43AA-6ED2-FAAE-7D9859D68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7B9373-C7FF-8A7B-C4E5-F354A1C2A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1108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2E26E41-BE52-EA4D-9723-BC2D748151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481B53C-8B67-2A4C-A0EB-8E19D7EA139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024261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8BECD78-4FC2-FE4A-B0AD-B67981B7F3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64D62FE7-9E3C-C642-B5F9-6FC9906206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19486852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B9B7CDD4-5358-4D8E-8ED9-166A8565E4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8784519-ACB7-864D-9900-D7AE9DBF196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6819736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719669" y="1274618"/>
            <a:ext cx="7906172" cy="516857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5718AC-2FD5-0440-95AD-599C14F5ABC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D22A12F-A14E-494C-B19F-804882DB1B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502467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719669" y="1817225"/>
            <a:ext cx="7906172" cy="462596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B4AAD2D-984D-E544-BD25-871E6B66AC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6"/>
            <a:ext cx="3382962" cy="549554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F3865CA-3CF8-D949-8BB9-0AAC2100FA8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083260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719669" y="1817225"/>
            <a:ext cx="7906172" cy="462596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1709C7-12E6-844D-A9A7-0947E093761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070426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9123E37-5834-2642-9C6F-AB0F6E2009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920200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6" y="150128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C484EA-0BDF-4770-B31E-6CC037854A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659385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 dirty="0"/>
              <a:t>Table/Chart Title</a:t>
            </a:r>
            <a:endParaRPr lang="en-US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53B8EEF4-EC73-414D-BC41-9FC13827D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1C0BD4B-501C-C344-A596-388688D86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628281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noAutofit/>
          </a:bodyPr>
          <a:lstStyle>
            <a:lvl1pPr algn="ctr">
              <a:lnSpc>
                <a:spcPct val="100000"/>
              </a:lnSpc>
              <a:defRPr sz="2000" b="0" i="0" cap="none" baseline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 dirty="0"/>
              <a:t>Callout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FE6E611-6A87-6A4E-9A21-3D61C39F2C9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611CB88-F6CF-8D4D-AC16-80C4475AE3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69233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786960" y="1274618"/>
            <a:ext cx="7906172" cy="506238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7F7DEDA-B224-3342-9EBB-7357C367EB4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29540"/>
            <a:ext cx="8808719" cy="278332"/>
          </a:xfrm>
          <a:noFill/>
        </p:spPr>
        <p:txBody>
          <a:bodyPr wrap="square" lIns="180000" tIns="36000" rIns="180000" bIns="72000" anchor="b" anchorCtr="0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 dirty="0"/>
              <a:t>Referenc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95BFC60-AF06-E843-A18B-2B960A3787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496993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47025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F588BD-40BC-40F7-F3FC-1EBB6B2052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C6BC3-51EE-33EC-241F-BE9DBAF5A0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F807B3-A638-1E7C-3E66-200C41B26A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95021-2ECD-EB7C-899C-3367D5F804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B4331F-0F83-8DD7-D59D-CB106B09F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3101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AA40195-06BC-7C49-A95F-A02178B1C3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AB9F2D8-4722-B908-832D-8D1BF5801920}"/>
              </a:ext>
            </a:extLst>
          </p:cNvPr>
          <p:cNvSpPr txBox="1"/>
          <p:nvPr userDrawn="1"/>
        </p:nvSpPr>
        <p:spPr>
          <a:xfrm>
            <a:off x="4413326" y="3317358"/>
            <a:ext cx="33653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FFFF00"/>
                </a:highlight>
              </a:rPr>
              <a:t>DO NOT USE</a:t>
            </a:r>
          </a:p>
        </p:txBody>
      </p:sp>
    </p:spTree>
    <p:extLst>
      <p:ext uri="{BB962C8B-B14F-4D97-AF65-F5344CB8AC3E}">
        <p14:creationId xmlns:p14="http://schemas.microsoft.com/office/powerpoint/2010/main" val="27116994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648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 dirty="0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2772229"/>
            <a:ext cx="10752667" cy="364092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CF5EE89-7A94-684A-AC6B-0595660363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C6A533-AE05-BE26-FAAA-99C855458D13}"/>
              </a:ext>
            </a:extLst>
          </p:cNvPr>
          <p:cNvSpPr txBox="1"/>
          <p:nvPr userDrawn="1"/>
        </p:nvSpPr>
        <p:spPr>
          <a:xfrm>
            <a:off x="4413326" y="3317358"/>
            <a:ext cx="336534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>
                <a:solidFill>
                  <a:srgbClr val="FF0000"/>
                </a:solidFill>
                <a:highlight>
                  <a:srgbClr val="FFFF00"/>
                </a:highlight>
              </a:rPr>
              <a:t>DO NOT USE</a:t>
            </a:r>
          </a:p>
        </p:txBody>
      </p:sp>
    </p:spTree>
    <p:extLst>
      <p:ext uri="{BB962C8B-B14F-4D97-AF65-F5344CB8AC3E}">
        <p14:creationId xmlns:p14="http://schemas.microsoft.com/office/powerpoint/2010/main" val="13363039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C07A8-1AAE-2FB2-D26A-8EC498DA58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FAE15C-F9BC-4EAA-9274-A07F4ACDB0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6F664D-6D7A-287B-6853-E22FD90181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5BC6E-B7B7-6344-B8C7-9EE4A1A557DB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201DC7-0E96-A284-791F-057C001CCE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12A68C-3B24-20C3-8AED-BB7D1298DC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06CAC8-9075-0145-AEA9-9CE645FB8E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7387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CDA4CC8-9A66-402F-86BE-AFF503AE15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F66550-DBA1-42B1-BE66-E3D779C57B7C}" type="datetimeFigureOut">
              <a:rPr lang="en-US" smtClean="0"/>
              <a:t>4/1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53330F8-953C-4A3C-A140-5847C54442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DA49B0-D439-4AEC-BC23-7F354D9177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DCEEDE-DE4F-4B21-847F-A7C755B15B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9478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15/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271629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pu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e du titre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du titre</a:t>
            </a:r>
          </a:p>
        </p:txBody>
      </p:sp>
      <p:sp>
        <p:nvSpPr>
          <p:cNvPr id="57" name="Texte niveau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e niveau 1</a:t>
            </a:r>
          </a:p>
          <a:p>
            <a:pPr lvl="1"/>
            <a:r>
              <a:t>Texte niveau 2</a:t>
            </a:r>
          </a:p>
          <a:p>
            <a:pPr lvl="2"/>
            <a:r>
              <a:t>Texte niveau 3</a:t>
            </a:r>
          </a:p>
          <a:p>
            <a:pPr lvl="3"/>
            <a:r>
              <a:t>Texte niveau 4</a:t>
            </a:r>
          </a:p>
          <a:p>
            <a:pPr lvl="4"/>
            <a:r>
              <a:t>Texte niveau 5</a:t>
            </a:r>
          </a:p>
        </p:txBody>
      </p:sp>
      <p:sp>
        <p:nvSpPr>
          <p:cNvPr id="58" name="Numéro de diapositive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9191052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C Section Brea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8517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panose="020B0604020202020204" pitchFamily="34" charset="0"/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08864" y="3929145"/>
            <a:ext cx="1713084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508864" y="2770297"/>
            <a:ext cx="11065820" cy="738664"/>
          </a:xfrm>
          <a:prstGeom prst="rect">
            <a:avLst/>
          </a:prstGeom>
          <a:noFill/>
        </p:spPr>
        <p:txBody>
          <a:bodyPr wrap="square" lIns="0" rIns="0" anchor="b" anchorCtr="0">
            <a:spAutoFit/>
          </a:bodyPr>
          <a:lstStyle>
            <a:lvl1pPr algn="l">
              <a:lnSpc>
                <a:spcPct val="100000"/>
              </a:lnSpc>
              <a:defRPr sz="48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ection Break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362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  <p15:guide id="2" orient="horz" pos="822">
          <p15:clr>
            <a:srgbClr val="FBAE40"/>
          </p15:clr>
        </p15:guide>
        <p15:guide id="3" pos="544">
          <p15:clr>
            <a:srgbClr val="FBAE40"/>
          </p15:clr>
        </p15:guide>
        <p15:guide id="4" orient="horz" pos="3435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59250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0159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3940332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E7D426-E945-A418-76F4-7E914880A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89FC21-EDCE-AA8F-7AC2-9395C85D67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D42E61-8909-8A83-7ED4-80FE3DD4BCE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6827D5C-5E86-F18C-BC06-39C5E67579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437457-9655-8C7C-8635-162C47C1E0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FBAE04-2E7F-199B-9E5F-CF13EC1B1F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0155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3597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0414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5378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_Two 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8C47D524-D24E-4966-BEC7-E133614B38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62525" y="1274618"/>
            <a:ext cx="5027989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5027989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9361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E243145-C8B5-4266-81B5-8D69F68ABF7C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9672658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and Conten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1828800"/>
            <a:ext cx="10752667" cy="4511040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333C8396-BDCF-443F-9747-889481DF4DE1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8961118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18C7E7DF-1840-40A3-9C9B-BB0C026EA7C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457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0F4F7F-8E32-4131-8F87-795D724E9536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42576579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1EBDE80-5172-47F1-AAA1-248B43213C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49C6134-EF43-40B1-9DF0-B6D3952F4EAE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3085045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B9B7CDD4-5358-4D8E-8ED9-166A8565E4E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144042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4CB7F8F-C137-4294-8094-B85D9A87CEE7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838645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2A179F37-E3A4-41FF-BD92-DEE1BD95164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274618"/>
            <a:ext cx="7906172" cy="5004697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228B2BAB-F87B-4989-8830-FF30142D99F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9431360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63DF3-F6D2-A695-C4C6-7FCE519AC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C5D09D-AE02-3F1C-BC15-C46D62E198F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752DCA-2FC0-A45A-AF08-ABE8AF63A97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205BCDD-1917-AD08-CA70-1B322FCB163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36EF700-5C08-5344-86D6-54F4BAACC25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09D804F-61CE-A8C4-3382-88ADF79ED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0122E8-A658-C36D-51E0-7D2233FAA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02711C6-B0EF-7DFE-BF77-63E73600A8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552806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33615CCD-723B-4AD7-8A55-20E3B23D9DC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40470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A4E621E-9F5F-424A-A6A0-F56F3264CEC8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736178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and Content w notes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" y="6400800"/>
            <a:ext cx="862583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81907"/>
            <a:ext cx="12191999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E545D14B-E803-4B04-B3A4-2D14402EC5D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809038" y="1535090"/>
            <a:ext cx="3382962" cy="5144042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9" y="1817225"/>
            <a:ext cx="7906172" cy="4431176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ED9AFFA6-6A7D-46CE-8F9C-2221CED3E18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20424724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BC484EA-0BDF-4770-B31E-6CC037854A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04B2D417-4FA9-468A-B1F7-CA30B4A3D99B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98415640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Title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0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3280" y="1081907"/>
            <a:ext cx="8808720" cy="453183"/>
          </a:xfrm>
          <a:prstGeom prst="rect">
            <a:avLst/>
          </a:prstGeom>
          <a:noFill/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GB"/>
              <a:t>Table/Chart Title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E9529ED-E945-4996-B7F4-B70DF68F5BA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4253332-CB92-45ED-A4D3-9A7327FE0A65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769064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allout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382962" y="1081907"/>
            <a:ext cx="8809037" cy="453183"/>
          </a:xfrm>
          <a:prstGeom prst="rect">
            <a:avLst/>
          </a:prstGeom>
          <a:solidFill>
            <a:schemeClr val="accent2"/>
          </a:solidFill>
        </p:spPr>
        <p:txBody>
          <a:bodyPr wrap="square" lIns="360000" tIns="72000" rIns="360000" bIns="72000">
            <a:spAutoFit/>
          </a:bodyPr>
          <a:lstStyle>
            <a:lvl1pPr algn="ctr">
              <a:lnSpc>
                <a:spcPct val="100000"/>
              </a:lnSpc>
              <a:defRPr sz="2000" b="1" cap="none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2pPr>
            <a:lvl3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3pPr>
            <a:lvl4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4pPr>
            <a:lvl5pPr>
              <a:defRPr cap="all" baseline="0">
                <a:solidFill>
                  <a:schemeClr val="bg2">
                    <a:lumMod val="50000"/>
                  </a:schemeClr>
                </a:solidFill>
                <a:latin typeface="Montserrat SemiBold" panose="00000700000000000000" pitchFamily="50" charset="0"/>
              </a:defRPr>
            </a:lvl5pPr>
          </a:lstStyle>
          <a:p>
            <a:pPr lvl="0"/>
            <a:r>
              <a:rPr lang="en-US"/>
              <a:t>Callout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96F7ADE-05EE-4BB4-99FF-C73DE9E2C0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341C4A-B961-4F74-A372-AD4F61519FFD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1775430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left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383281" y="6400800"/>
            <a:ext cx="880871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85BE17-3001-43A8-B1C8-A2A45892E9A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1082675"/>
            <a:ext cx="3382962" cy="5596128"/>
          </a:xfrm>
          <a:solidFill>
            <a:schemeClr val="bg1">
              <a:lumMod val="95000"/>
            </a:schemeClr>
          </a:solidFill>
        </p:spPr>
        <p:txBody>
          <a:bodyPr lIns="274320" tIns="274320" rIns="274320" bIns="274320"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3786960" y="1274618"/>
            <a:ext cx="7906172" cy="5004697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8520B4A-CEFC-445F-9F68-43F7F1F97109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40980659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lear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720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46853EB-84E5-4EF3-A50D-BD15789E6AAD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08915361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BU Content Only w notes top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 b="0" i="0">
                <a:latin typeface="Roboto Condensed" panose="02000000000000000000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00800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097280"/>
            <a:ext cx="12191999" cy="1463040"/>
          </a:xfrm>
          <a:solidFill>
            <a:schemeClr val="bg1">
              <a:lumMod val="95000"/>
            </a:schemeClr>
          </a:solidFill>
        </p:spPr>
        <p:txBody>
          <a:bodyPr wrap="square" lIns="720000" tIns="182880" rIns="648000" bIns="182880" anchor="ctr" anchorCtr="0">
            <a:normAutofit/>
          </a:bodyPr>
          <a:lstStyle>
            <a:lvl1pPr>
              <a:defRPr sz="1600" b="0" i="0"/>
            </a:lvl1pPr>
          </a:lstStyle>
          <a:p>
            <a:pPr lvl="0"/>
            <a:r>
              <a:rPr lang="en-US"/>
              <a:t>Notes comes here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/>
          </p:nvPr>
        </p:nvSpPr>
        <p:spPr>
          <a:xfrm>
            <a:off x="719668" y="2772229"/>
            <a:ext cx="10752667" cy="3640928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D23BD4-9B0E-495D-8644-EA5488137148}"/>
              </a:ext>
            </a:extLst>
          </p:cNvPr>
          <p:cNvSpPr txBox="1"/>
          <p:nvPr userDrawn="1"/>
        </p:nvSpPr>
        <p:spPr>
          <a:xfrm>
            <a:off x="0" y="6661792"/>
            <a:ext cx="1218895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marR="0" lvl="0" indent="0" algn="ctr" defTabSz="914400" latinLnBrk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cap="none" normalizeH="0" baseline="0">
                <a:ln>
                  <a:noFill/>
                </a:ln>
                <a:solidFill>
                  <a:schemeClr val="accent6"/>
                </a:solidFill>
                <a:effectLst/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altLang="en-US" sz="675" spc="-30" baseline="0">
                <a:solidFill>
                  <a:srgbClr val="7F7F7F"/>
                </a:solidFill>
                <a:latin typeface="Arial" panose="020B0604020202020204" pitchFamily="34" charset="0"/>
              </a:rPr>
              <a:t>These materials are provided to you solely as an educational resource for your personal use. Any commercial use or distribution of these materials or any portion thereof is strictly prohibited.</a:t>
            </a:r>
          </a:p>
        </p:txBody>
      </p:sp>
    </p:spTree>
    <p:extLst>
      <p:ext uri="{BB962C8B-B14F-4D97-AF65-F5344CB8AC3E}">
        <p14:creationId xmlns:p14="http://schemas.microsoft.com/office/powerpoint/2010/main" val="306352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F2D85-540C-4FBC-A590-5716F99AE3D9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FA4F37-76BA-4F52-B181-1B1AA0967D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3113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ly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57966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60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719668" y="1274618"/>
            <a:ext cx="10752667" cy="5065222"/>
          </a:xfrm>
          <a:prstGeom prst="rect">
            <a:avLst/>
          </a:prstGeom>
        </p:spPr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/>
            </a:lvl1pPr>
            <a:lvl2pPr marL="252000" indent="-252000">
              <a:defRPr/>
            </a:lvl2pPr>
            <a:lvl3pPr marL="504000" indent="-252000">
              <a:defRPr/>
            </a:lvl3pPr>
            <a:lvl4pPr marL="756000" indent="-252000">
              <a:defRPr/>
            </a:lvl4pPr>
            <a:lvl5pPr marL="1008000" indent="-252000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54994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40E52A-2687-814C-1098-93D094C1D5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A15128-62AF-0D81-13A7-03A6BA296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6313759-4613-5554-B2B3-3C645450CC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58C571-2637-5320-20C9-2E4CF0CEA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7107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6032" y="1691641"/>
            <a:ext cx="11329416" cy="4382505"/>
          </a:xfrm>
        </p:spPr>
        <p:txBody>
          <a:bodyPr/>
          <a:lstStyle>
            <a:lvl1pPr>
              <a:defRPr>
                <a:solidFill>
                  <a:srgbClr val="141414"/>
                </a:solidFill>
                <a:latin typeface="+mj-lt"/>
              </a:defRPr>
            </a:lvl1pPr>
            <a:lvl2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2pPr>
            <a:lvl3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3pPr>
            <a:lvl4pPr>
              <a:defRPr>
                <a:solidFill>
                  <a:srgbClr val="141414"/>
                </a:solidFill>
                <a:latin typeface="Franklin Gothic Book" panose="020B0503020102020204" pitchFamily="34" charset="0"/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256032" y="6163056"/>
            <a:ext cx="11420856" cy="694944"/>
          </a:xfrm>
        </p:spPr>
        <p:txBody>
          <a:bodyPr anchor="b"/>
          <a:lstStyle>
            <a:lvl1pPr>
              <a:spcBef>
                <a:spcPts val="0"/>
              </a:spcBef>
              <a:defRPr sz="1400" b="0">
                <a:latin typeface="Franklin Gothic Book" panose="020B05030201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8288" y="6345936"/>
            <a:ext cx="667512" cy="274320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ctr">
              <a:defRPr sz="1200" b="1">
                <a:solidFill>
                  <a:schemeClr val="tx1"/>
                </a:solidFill>
                <a:latin typeface="Franklin Gothic Medium Cond" panose="020B0606030402020204" pitchFamily="34" charset="0"/>
              </a:defRPr>
            </a:lvl1pPr>
          </a:lstStyle>
          <a:p>
            <a:pPr defTabSz="914377">
              <a:defRPr/>
            </a:pPr>
            <a:fld id="{BFA19188-CCD0-4FFB-8DFB-60D3E72DC091}" type="slidenum">
              <a:rPr lang="en-US" smtClean="0">
                <a:solidFill>
                  <a:prstClr val="black"/>
                </a:solidFill>
              </a:rPr>
              <a:pPr defTabSz="914377"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62678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ear w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6443188"/>
            <a:ext cx="12191999" cy="278332"/>
          </a:xfrm>
          <a:noFill/>
        </p:spPr>
        <p:txBody>
          <a:bodyPr wrap="square" lIns="180000" tIns="36000" rIns="180000" bIns="72000" anchor="b" anchorCtr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1100" b="0" i="0"/>
            </a:lvl1pPr>
          </a:lstStyle>
          <a:p>
            <a:pPr lvl="0"/>
            <a:r>
              <a:rPr lang="en-US"/>
              <a:t>Reference</a:t>
            </a:r>
          </a:p>
        </p:txBody>
      </p:sp>
    </p:spTree>
    <p:extLst>
      <p:ext uri="{BB962C8B-B14F-4D97-AF65-F5344CB8AC3E}">
        <p14:creationId xmlns:p14="http://schemas.microsoft.com/office/powerpoint/2010/main" val="26059648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6093BB9-289D-1B44-83D8-250414A386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39" t="-7983" r="-12073" b="-4734"/>
          <a:stretch/>
        </p:blipFill>
        <p:spPr>
          <a:xfrm>
            <a:off x="5284865" y="5479684"/>
            <a:ext cx="1483784" cy="101096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16" r="9998" b="1129"/>
          <a:stretch/>
        </p:blipFill>
        <p:spPr>
          <a:xfrm>
            <a:off x="-1" y="124315"/>
            <a:ext cx="12192001" cy="6288080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461574"/>
            <a:ext cx="9144000" cy="597429"/>
          </a:xfrm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accent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8F7B167-0012-58FC-CBF9-E4348AC95333}"/>
              </a:ext>
            </a:extLst>
          </p:cNvPr>
          <p:cNvSpPr/>
          <p:nvPr userDrawn="1"/>
        </p:nvSpPr>
        <p:spPr>
          <a:xfrm>
            <a:off x="1972492" y="228600"/>
            <a:ext cx="8247016" cy="8301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6000" b="0" i="0" dirty="0">
                <a:solidFill>
                  <a:schemeClr val="accent1"/>
                </a:solidFill>
                <a:latin typeface="Helvetica Light" panose="020B0403020202020204" pitchFamily="34" charset="0"/>
              </a:rPr>
              <a:t>AML ADVISO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5E603D9-25E9-14A0-9A01-2E60E9B7D91B}"/>
              </a:ext>
            </a:extLst>
          </p:cNvPr>
          <p:cNvSpPr txBox="1"/>
          <p:nvPr userDrawn="1"/>
        </p:nvSpPr>
        <p:spPr>
          <a:xfrm>
            <a:off x="1" y="276225"/>
            <a:ext cx="1219200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0" i="0" u="none" strike="noStrike" kern="1200" cap="none" spc="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cute Myeloid Leukemia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F2C5687-6008-C41B-DA66-9BFE438A832C}"/>
              </a:ext>
            </a:extLst>
          </p:cNvPr>
          <p:cNvSpPr txBox="1"/>
          <p:nvPr userDrawn="1"/>
        </p:nvSpPr>
        <p:spPr>
          <a:xfrm>
            <a:off x="3357327" y="1176683"/>
            <a:ext cx="5477347" cy="769441"/>
          </a:xfrm>
          <a:prstGeom prst="rect">
            <a:avLst/>
          </a:prstGeom>
          <a:solidFill>
            <a:srgbClr val="F18917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VISORY BOARD</a:t>
            </a:r>
          </a:p>
        </p:txBody>
      </p:sp>
    </p:spTree>
    <p:extLst>
      <p:ext uri="{BB962C8B-B14F-4D97-AF65-F5344CB8AC3E}">
        <p14:creationId xmlns:p14="http://schemas.microsoft.com/office/powerpoint/2010/main" val="4062537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" t="39673" b="19389"/>
          <a:stretch/>
        </p:blipFill>
        <p:spPr>
          <a:xfrm>
            <a:off x="-78317" y="3681"/>
            <a:ext cx="12348634" cy="355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3559509"/>
            <a:ext cx="12192000" cy="1076154"/>
          </a:xfrm>
          <a:solidFill>
            <a:schemeClr val="accent3"/>
          </a:solidFill>
        </p:spPr>
        <p:txBody>
          <a:bodyPr anchor="ctr">
            <a:norm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2516" y="4786313"/>
            <a:ext cx="10515600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4701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82600" y="5906322"/>
            <a:ext cx="9398000" cy="556302"/>
          </a:xfrm>
        </p:spPr>
        <p:txBody>
          <a:bodyPr/>
          <a:lstStyle>
            <a:lvl1pPr>
              <a:defRPr sz="800"/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 algn="l">
              <a:spcBef>
                <a:spcPts val="600"/>
              </a:spcBef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296863" indent="-296863">
              <a:spcBef>
                <a:spcPts val="1200"/>
              </a:spcBef>
              <a:tabLst/>
              <a:defRPr/>
            </a:lvl1pPr>
            <a:lvl2pPr>
              <a:spcBef>
                <a:spcPts val="1200"/>
              </a:spcBef>
              <a:defRPr/>
            </a:lvl2pPr>
            <a:lvl3pPr>
              <a:spcBef>
                <a:spcPts val="1200"/>
              </a:spcBef>
              <a:defRPr/>
            </a:lvl3pPr>
            <a:lvl4pPr>
              <a:spcBef>
                <a:spcPts val="1200"/>
              </a:spcBef>
              <a:defRPr/>
            </a:lvl4pPr>
            <a:lvl5pPr>
              <a:spcBef>
                <a:spcPts val="12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9482245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6470" y="1325880"/>
            <a:ext cx="51816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25880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94846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076648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555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7424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3776" y="6062472"/>
            <a:ext cx="9440333" cy="36618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11871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6884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1239A0-3216-6993-B51A-8684308C52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20DFB4-DD0C-A307-2640-356B2924C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2F2934-72CA-F89B-C015-58E17806D9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13225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588E68F-89EF-4FB1-BE12-32981F24B0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03294"/>
            <a:ext cx="11826240" cy="82726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defRPr sz="32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571200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833171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SubHead &amp;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en-US" sz="3400" b="0" kern="1200" baseline="0">
                <a:ln w="6350">
                  <a:noFill/>
                </a:ln>
                <a:solidFill>
                  <a:schemeClr val="tx1"/>
                </a:solidFill>
                <a:effectLst/>
                <a:latin typeface="Futura Bk BT" panose="020B0502020204020303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/>
          <a:p>
            <a:fld id="{D8D0F2C8-8DAD-480A-8C12-6A902EB0F7E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5011" y="1057700"/>
            <a:ext cx="11468732" cy="61344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accent3"/>
                </a:solidFill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85011" y="1709000"/>
            <a:ext cx="11468732" cy="4471082"/>
          </a:xfrm>
          <a:prstGeom prst="rect">
            <a:avLst/>
          </a:prstGeom>
        </p:spPr>
        <p:txBody>
          <a:bodyPr/>
          <a:lstStyle>
            <a:lvl1pPr marL="231775" indent="-231775">
              <a:spcBef>
                <a:spcPts val="1200"/>
              </a:spcBef>
              <a:buFont typeface="Arial" panose="020B0604020202020204" pitchFamily="34" charset="0"/>
              <a:buChar char="•"/>
              <a:defRPr/>
            </a:lvl1pPr>
            <a:lvl2pPr marL="511175" indent="-223838">
              <a:spcBef>
                <a:spcPts val="1200"/>
              </a:spcBef>
              <a:buFont typeface="Arial" panose="020B0604020202020204" pitchFamily="34" charset="0"/>
              <a:buChar char="•"/>
              <a:defRPr/>
            </a:lvl2pPr>
            <a:lvl3pPr marL="798513" indent="-225425">
              <a:spcBef>
                <a:spcPts val="1200"/>
              </a:spcBef>
              <a:buFont typeface="Arial" panose="020B0604020202020204" pitchFamily="34" charset="0"/>
              <a:buChar char="•"/>
              <a:defRPr/>
            </a:lvl3pPr>
            <a:lvl4pPr marL="1084263" indent="-223838">
              <a:spcBef>
                <a:spcPts val="1200"/>
              </a:spcBef>
              <a:buFont typeface="Arial" panose="020B0604020202020204" pitchFamily="34" charset="0"/>
              <a:buChar char="•"/>
              <a:defRPr/>
            </a:lvl4pPr>
            <a:lvl5pPr marL="1317625" indent="-171450">
              <a:spcBef>
                <a:spcPts val="1200"/>
              </a:spcBef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676284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Title Slide">
    <p:bg>
      <p:bgPr>
        <a:gradFill flip="none" rotWithShape="1">
          <a:gsLst>
            <a:gs pos="92000">
              <a:schemeClr val="accent5">
                <a:lumMod val="40000"/>
                <a:lumOff val="60000"/>
              </a:schemeClr>
            </a:gs>
            <a:gs pos="100000">
              <a:schemeClr val="accent5">
                <a:lumMod val="95000"/>
                <a:lumOff val="5000"/>
              </a:schemeClr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464F9D5E-1859-49B0-BC26-CE5917F0D7D8}"/>
              </a:ext>
            </a:extLst>
          </p:cNvPr>
          <p:cNvGrpSpPr/>
          <p:nvPr userDrawn="1"/>
        </p:nvGrpSpPr>
        <p:grpSpPr>
          <a:xfrm>
            <a:off x="0" y="958061"/>
            <a:ext cx="10585682" cy="2427377"/>
            <a:chOff x="0" y="958061"/>
            <a:chExt cx="10585682" cy="2427377"/>
          </a:xfrm>
          <a:solidFill>
            <a:schemeClr val="tx1"/>
          </a:solidFill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1517A34D-63CC-45B6-ADAE-8457E7E929DE}"/>
                </a:ext>
              </a:extLst>
            </p:cNvPr>
            <p:cNvSpPr/>
            <p:nvPr userDrawn="1"/>
          </p:nvSpPr>
          <p:spPr>
            <a:xfrm>
              <a:off x="0" y="958063"/>
              <a:ext cx="9324975" cy="2427375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Isosceles Triangle 4">
              <a:extLst>
                <a:ext uri="{FF2B5EF4-FFF2-40B4-BE49-F238E27FC236}">
                  <a16:creationId xmlns:a16="http://schemas.microsoft.com/office/drawing/2014/main" id="{D1BB2BA8-72B1-487F-891D-0FBB61BB20EC}"/>
                </a:ext>
              </a:extLst>
            </p:cNvPr>
            <p:cNvSpPr/>
            <p:nvPr userDrawn="1"/>
          </p:nvSpPr>
          <p:spPr>
            <a:xfrm flipH="1" flipV="1">
              <a:off x="9324975" y="958061"/>
              <a:ext cx="1260707" cy="2427375"/>
            </a:xfrm>
            <a:prstGeom prst="triangle">
              <a:avLst>
                <a:gd name="adj" fmla="val 10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" name="Picture 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862FEA29-6284-403A-801A-28C7719BD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25000"/>
            <a:alphaModFix amt="33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35" t="63317" r="5960" b="8563"/>
          <a:stretch/>
        </p:blipFill>
        <p:spPr>
          <a:xfrm>
            <a:off x="1" y="958064"/>
            <a:ext cx="12192000" cy="2427374"/>
          </a:xfrm>
          <a:prstGeom prst="rect">
            <a:avLst/>
          </a:prstGeom>
          <a:noFill/>
        </p:spPr>
      </p:pic>
      <p:sp>
        <p:nvSpPr>
          <p:cNvPr id="11" name="Parallelogram 10">
            <a:extLst>
              <a:ext uri="{FF2B5EF4-FFF2-40B4-BE49-F238E27FC236}">
                <a16:creationId xmlns:a16="http://schemas.microsoft.com/office/drawing/2014/main" id="{51EF61F8-A706-4524-9A54-9B9D4A7C6F2E}"/>
              </a:ext>
            </a:extLst>
          </p:cNvPr>
          <p:cNvSpPr/>
          <p:nvPr userDrawn="1"/>
        </p:nvSpPr>
        <p:spPr>
          <a:xfrm rot="10800000" flipH="1" flipV="1">
            <a:off x="9324975" y="958064"/>
            <a:ext cx="1327450" cy="2427374"/>
          </a:xfrm>
          <a:prstGeom prst="parallelogram">
            <a:avLst>
              <a:gd name="adj" fmla="val 954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318314"/>
            <a:ext cx="9418319" cy="1623060"/>
          </a:xfrm>
          <a:noFill/>
        </p:spPr>
        <p:txBody>
          <a:bodyPr lIns="548640" tIns="91440" bIns="18288" anchor="ctr" anchorCtr="0"/>
          <a:lstStyle>
            <a:lvl1pPr algn="l">
              <a:lnSpc>
                <a:spcPct val="8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99CDF51-24BF-C44D-8620-F4FF622966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3840946"/>
            <a:ext cx="7863839" cy="360358"/>
          </a:xfrm>
          <a:prstGeom prst="rect">
            <a:avLst/>
          </a:prstGeom>
          <a:solidFill>
            <a:schemeClr val="accent1"/>
          </a:solidFill>
        </p:spPr>
        <p:txBody>
          <a:bodyPr lIns="548640" tIns="91440" bIns="54864" anchor="ctr" anchorCtr="0"/>
          <a:lstStyle>
            <a:lvl1pPr marL="0" indent="0" algn="l">
              <a:buNone/>
              <a:defRPr sz="1800" b="1" spc="60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78485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" y="3840946"/>
            <a:ext cx="7863839" cy="360358"/>
          </a:xfrm>
          <a:prstGeom prst="rect">
            <a:avLst/>
          </a:prstGeom>
          <a:solidFill>
            <a:schemeClr val="accent1"/>
          </a:solidFill>
        </p:spPr>
        <p:txBody>
          <a:bodyPr lIns="548640" tIns="91440" bIns="54864" anchor="ctr" anchorCtr="0"/>
          <a:lstStyle>
            <a:lvl1pPr marL="0" indent="0" algn="l">
              <a:buNone/>
              <a:defRPr sz="1800" b="1" spc="600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Picture 7" descr="A picture containing building&#10;&#10;Description automatically generated">
            <a:extLst>
              <a:ext uri="{FF2B5EF4-FFF2-40B4-BE49-F238E27FC236}">
                <a16:creationId xmlns:a16="http://schemas.microsoft.com/office/drawing/2014/main" id="{862FEA29-6284-403A-801A-28C7719BD1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835" t="63317" r="5960" b="8563"/>
          <a:stretch/>
        </p:blipFill>
        <p:spPr>
          <a:xfrm>
            <a:off x="4065" y="958064"/>
            <a:ext cx="12187935" cy="2427374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653FC1D9-5A04-4A6D-A644-D5DAA92B44B6}"/>
              </a:ext>
            </a:extLst>
          </p:cNvPr>
          <p:cNvSpPr/>
          <p:nvPr userDrawn="1"/>
        </p:nvSpPr>
        <p:spPr>
          <a:xfrm>
            <a:off x="-566057" y="2883337"/>
            <a:ext cx="4296228" cy="4296228"/>
          </a:xfrm>
          <a:prstGeom prst="ellipse">
            <a:avLst/>
          </a:prstGeom>
          <a:noFill/>
          <a:ln>
            <a:solidFill>
              <a:schemeClr val="bg1">
                <a:alpha val="14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51EF61F8-A706-4524-9A54-9B9D4A7C6F2E}"/>
              </a:ext>
            </a:extLst>
          </p:cNvPr>
          <p:cNvSpPr/>
          <p:nvPr userDrawn="1"/>
        </p:nvSpPr>
        <p:spPr>
          <a:xfrm rot="10800000" flipH="1" flipV="1">
            <a:off x="9324975" y="958064"/>
            <a:ext cx="1327450" cy="2427374"/>
          </a:xfrm>
          <a:prstGeom prst="parallelogram">
            <a:avLst>
              <a:gd name="adj" fmla="val 95468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1318314"/>
            <a:ext cx="9418319" cy="1623060"/>
          </a:xfrm>
          <a:noFill/>
        </p:spPr>
        <p:txBody>
          <a:bodyPr lIns="548640" tIns="91440" bIns="18288" anchor="ctr" anchorCtr="0"/>
          <a:lstStyle>
            <a:lvl1pPr algn="l">
              <a:lnSpc>
                <a:spcPct val="85000"/>
              </a:lnSpc>
              <a:defRPr sz="4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00224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19176" y="2333625"/>
            <a:ext cx="11172824" cy="1712700"/>
          </a:xfrm>
          <a:gradFill>
            <a:gsLst>
              <a:gs pos="0">
                <a:schemeClr val="accent4">
                  <a:lumMod val="60000"/>
                  <a:lumOff val="40000"/>
                  <a:alpha val="72000"/>
                </a:schemeClr>
              </a:gs>
              <a:gs pos="58000">
                <a:schemeClr val="bg1">
                  <a:lumMod val="85000"/>
                  <a:alpha val="55000"/>
                </a:schemeClr>
              </a:gs>
              <a:gs pos="100000">
                <a:schemeClr val="bg2">
                  <a:tint val="23500"/>
                  <a:satMod val="160000"/>
                  <a:alpha val="0"/>
                </a:schemeClr>
              </a:gs>
            </a:gsLst>
            <a:lin ang="0" scaled="1"/>
          </a:gradFill>
        </p:spPr>
        <p:txBody>
          <a:bodyPr lIns="274320" rIns="914400" anchor="ctr" anchorCtr="0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3949" y="4223405"/>
            <a:ext cx="8866469" cy="149802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CFCCB9-186C-48AE-B95C-322BD30AF8B9}"/>
              </a:ext>
            </a:extLst>
          </p:cNvPr>
          <p:cNvSpPr/>
          <p:nvPr userDrawn="1"/>
        </p:nvSpPr>
        <p:spPr>
          <a:xfrm>
            <a:off x="810296" y="2333625"/>
            <a:ext cx="208879" cy="17127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3795C2-85D1-A04A-A629-C90F2F225B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717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19176" y="2333625"/>
            <a:ext cx="11172824" cy="1712700"/>
          </a:xfrm>
          <a:gradFill>
            <a:gsLst>
              <a:gs pos="0">
                <a:schemeClr val="accent4">
                  <a:lumMod val="60000"/>
                  <a:lumOff val="40000"/>
                  <a:alpha val="72000"/>
                </a:schemeClr>
              </a:gs>
              <a:gs pos="58000">
                <a:schemeClr val="bg1">
                  <a:lumMod val="85000"/>
                  <a:alpha val="55000"/>
                </a:schemeClr>
              </a:gs>
              <a:gs pos="100000">
                <a:schemeClr val="bg2">
                  <a:tint val="23500"/>
                  <a:satMod val="160000"/>
                  <a:alpha val="0"/>
                </a:schemeClr>
              </a:gs>
            </a:gsLst>
            <a:lin ang="0" scaled="1"/>
          </a:gradFill>
        </p:spPr>
        <p:txBody>
          <a:bodyPr lIns="274320" rIns="914400" anchor="ctr" anchorCtr="0"/>
          <a:lstStyle>
            <a:lvl1pPr algn="l">
              <a:defRPr sz="5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3949" y="4223405"/>
            <a:ext cx="8866469" cy="149802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3795C2-85D1-A04A-A629-C90F2F225B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094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19176" y="2333625"/>
            <a:ext cx="11172824" cy="1712700"/>
          </a:xfrm>
          <a:gradFill>
            <a:gsLst>
              <a:gs pos="0">
                <a:schemeClr val="accent4">
                  <a:lumMod val="60000"/>
                  <a:lumOff val="40000"/>
                  <a:alpha val="72000"/>
                </a:schemeClr>
              </a:gs>
              <a:gs pos="58000">
                <a:schemeClr val="bg1">
                  <a:lumMod val="85000"/>
                  <a:alpha val="55000"/>
                </a:schemeClr>
              </a:gs>
              <a:gs pos="100000">
                <a:schemeClr val="bg2">
                  <a:tint val="23500"/>
                  <a:satMod val="160000"/>
                  <a:alpha val="0"/>
                </a:schemeClr>
              </a:gs>
            </a:gsLst>
            <a:lin ang="0" scaled="1"/>
          </a:gradFill>
        </p:spPr>
        <p:txBody>
          <a:bodyPr lIns="274320" rIns="914400" anchor="ctr" anchorCtr="0"/>
          <a:lstStyle>
            <a:lvl1pPr algn="l">
              <a:defRPr sz="5400">
                <a:solidFill>
                  <a:srgbClr val="693668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3949" y="4223405"/>
            <a:ext cx="8866469" cy="149802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800" spc="-30" baseline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CFCCB9-186C-48AE-B95C-322BD30AF8B9}"/>
              </a:ext>
            </a:extLst>
          </p:cNvPr>
          <p:cNvSpPr/>
          <p:nvPr userDrawn="1"/>
        </p:nvSpPr>
        <p:spPr>
          <a:xfrm>
            <a:off x="810296" y="2333625"/>
            <a:ext cx="208879" cy="1712700"/>
          </a:xfrm>
          <a:prstGeom prst="rect">
            <a:avLst/>
          </a:prstGeom>
          <a:solidFill>
            <a:srgbClr val="683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3795C2-85D1-A04A-A629-C90F2F225B2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2911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>
            <a:lvl1pPr>
              <a:defRPr lang="en-US" sz="3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5012" y="1037063"/>
            <a:ext cx="11479166" cy="46573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>
              <a:buFontTx/>
              <a:buNone/>
              <a:defRPr sz="2400" spc="-30" baseline="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427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>
            <a:lvl1pPr>
              <a:defRPr lang="en-US" sz="3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5012" y="1037063"/>
            <a:ext cx="11479166" cy="4657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000" b="1" spc="-30" baseline="0">
                <a:solidFill>
                  <a:schemeClr val="accent1"/>
                </a:solidFill>
                <a:latin typeface="+mj-lt"/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91A948-7CDE-4F54-8C7C-F0289ADE53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1708150"/>
            <a:ext cx="11467983" cy="4231332"/>
          </a:xfrm>
          <a:prstGeom prst="rect">
            <a:avLst/>
          </a:prstGeom>
        </p:spPr>
        <p:txBody>
          <a:bodyPr/>
          <a:lstStyle>
            <a:lvl1pPr marL="231775" indent="-2317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pc="-30" baseline="0">
                <a:latin typeface="+mj-lt"/>
              </a:defRPr>
            </a:lvl1pPr>
            <a:lvl2pPr marL="633413" indent="-288925">
              <a:spcAft>
                <a:spcPts val="400"/>
              </a:spcAft>
              <a:buClr>
                <a:schemeClr val="bg1">
                  <a:lumMod val="65000"/>
                </a:schemeClr>
              </a:buClr>
              <a:buFont typeface="Calibri" panose="020F0502020204030204" pitchFamily="34" charset="0"/>
              <a:buChar char="‒"/>
              <a:defRPr sz="1800" spc="-10" baseline="0">
                <a:solidFill>
                  <a:schemeClr val="tx1"/>
                </a:solidFill>
                <a:latin typeface="+mj-lt"/>
              </a:defRPr>
            </a:lvl2pPr>
            <a:lvl3pPr>
              <a:spcAft>
                <a:spcPts val="40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Aft>
                <a:spcPts val="400"/>
              </a:spcAft>
              <a:defRPr sz="1400">
                <a:solidFill>
                  <a:schemeClr val="tx1"/>
                </a:solidFill>
                <a:latin typeface="+mj-lt"/>
              </a:defRPr>
            </a:lvl4pPr>
            <a:lvl5pPr>
              <a:spcAft>
                <a:spcPts val="400"/>
              </a:spcAft>
              <a:defRPr sz="12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7569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426015-F7A8-648A-3585-A379E3100F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6A4426-6E4E-FFE0-BF93-5C6D743A4E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59DF03-FC8C-42DB-B5DA-F05CC4F144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94B3A0-388C-A374-A4A0-B427A26D6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C1F1D5-F9D9-9657-6958-C02505B9D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AC4064-BF1D-7C4E-E61B-8A28215515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8050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>
            <a:lvl1pPr>
              <a:defRPr lang="en-US" sz="3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85012" y="1037063"/>
            <a:ext cx="11479166" cy="465734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indent="0">
              <a:lnSpc>
                <a:spcPct val="90000"/>
              </a:lnSpc>
              <a:buFontTx/>
              <a:buNone/>
              <a:defRPr sz="2000" b="1" spc="-30" baseline="0">
                <a:solidFill>
                  <a:schemeClr val="accent1"/>
                </a:solidFill>
                <a:latin typeface="+mj-lt"/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909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>
            <a:lvl1pPr>
              <a:defRPr lang="en-US" sz="340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91A948-7CDE-4F54-8C7C-F0289ADE53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5762" y="1242467"/>
            <a:ext cx="11467983" cy="4697015"/>
          </a:xfrm>
          <a:prstGeom prst="rect">
            <a:avLst/>
          </a:prstGeom>
        </p:spPr>
        <p:txBody>
          <a:bodyPr/>
          <a:lstStyle>
            <a:lvl1pPr marL="231775" indent="-2317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pc="-30" baseline="0">
                <a:latin typeface="+mj-lt"/>
              </a:defRPr>
            </a:lvl1pPr>
            <a:lvl2pPr marL="633413" indent="-288925">
              <a:spcAft>
                <a:spcPts val="400"/>
              </a:spcAft>
              <a:buClr>
                <a:schemeClr val="bg1">
                  <a:lumMod val="65000"/>
                </a:schemeClr>
              </a:buClr>
              <a:buFont typeface="Calibri" panose="020F0502020204030204" pitchFamily="34" charset="0"/>
              <a:buChar char="‒"/>
              <a:defRPr sz="1800" spc="-10" baseline="0">
                <a:solidFill>
                  <a:schemeClr val="tx1"/>
                </a:solidFill>
                <a:latin typeface="+mj-lt"/>
              </a:defRPr>
            </a:lvl2pPr>
            <a:lvl3pPr>
              <a:spcAft>
                <a:spcPts val="40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Aft>
                <a:spcPts val="400"/>
              </a:spcAft>
              <a:defRPr sz="1400">
                <a:solidFill>
                  <a:schemeClr val="tx1"/>
                </a:solidFill>
                <a:latin typeface="+mj-lt"/>
              </a:defRPr>
            </a:lvl4pPr>
            <a:lvl5pPr>
              <a:spcAft>
                <a:spcPts val="400"/>
              </a:spcAft>
              <a:defRPr sz="12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23766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t" anchorCtr="0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D74BE5C-030D-38E8-3434-663BDD416201}"/>
              </a:ext>
            </a:extLst>
          </p:cNvPr>
          <p:cNvSpPr/>
          <p:nvPr userDrawn="1"/>
        </p:nvSpPr>
        <p:spPr>
          <a:xfrm>
            <a:off x="11250202" y="6349429"/>
            <a:ext cx="941798" cy="457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668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9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D3AEDF2-94DB-498D-D597-53A88705F6D2}"/>
              </a:ext>
            </a:extLst>
          </p:cNvPr>
          <p:cNvSpPr/>
          <p:nvPr userDrawn="1"/>
        </p:nvSpPr>
        <p:spPr>
          <a:xfrm>
            <a:off x="11250202" y="6349429"/>
            <a:ext cx="941798" cy="457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212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BEAB6D4-ADD6-45CD-BBE8-60D988C720E9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rgbClr val="549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9C83D3-5B84-4521-BBBE-11C79948AC9B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60A6926-0F3E-461E-A4D2-C6D735E81B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BBAD67-94AC-4C2B-80A4-A534EE7C77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rgbClr val="5490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549095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49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BEAB6D4-ADD6-45CD-BBE8-60D988C720E9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rgbClr val="3E8B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9C83D3-5B84-4521-BBBE-11C79948AC9B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60A6926-0F3E-461E-A4D2-C6D735E81B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BBAD67-94AC-4C2B-80A4-A534EE7C77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rgbClr val="3E8BA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247BA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479333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BEAB6D4-ADD6-45CD-BBE8-60D988C720E9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rgbClr val="693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9C83D3-5B84-4521-BBBE-11C79948AC9B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60A6926-0F3E-461E-A4D2-C6D735E81B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BBAD67-94AC-4C2B-80A4-A534EE7C77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rgbClr val="6936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prstClr val="black"/>
              <a:srgbClr val="693668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66719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BEAB6D4-ADD6-45CD-BBE8-60D988C720E9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rgbClr val="006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9C83D3-5B84-4521-BBBE-11C79948AC9B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60A6926-0F3E-461E-A4D2-C6D735E81B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BBAD67-94AC-4C2B-80A4-A534EE7C77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rgbClr val="006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6300" y="324465"/>
            <a:ext cx="10977446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10357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4BEAB6D4-ADD6-45CD-BBE8-60D988C720E9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99C83D3-5B84-4521-BBBE-11C79948AC9B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60A6926-0F3E-461E-A4D2-C6D735E81B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7BBAD67-94AC-4C2B-80A4-A534EE7C77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9FCBE74-9EF7-4C97-96EA-7EAEC121243E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A picture containing building&#10;&#10;Description automatically generated">
            <a:extLst>
              <a:ext uri="{FF2B5EF4-FFF2-40B4-BE49-F238E27FC236}">
                <a16:creationId xmlns:a16="http://schemas.microsoft.com/office/drawing/2014/main" id="{6C7A7FCB-6073-4A8D-9679-6BCEE8D9CD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324465"/>
            <a:ext cx="11444171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99164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Title Body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8880" y="1630871"/>
            <a:ext cx="11468735" cy="671937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878880" y="2599058"/>
            <a:ext cx="10961350" cy="35810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400"/>
              </a:spcBef>
              <a:buFont typeface="Wingdings" panose="05000000000000000000" pitchFamily="2" charset="2"/>
              <a:buNone/>
              <a:defRPr sz="24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344487" indent="0">
              <a:spcBef>
                <a:spcPts val="400"/>
              </a:spcBef>
              <a:buFont typeface="Arial" panose="020B0604020202020204" pitchFamily="34" charset="0"/>
              <a:buNone/>
              <a:defRPr sz="2400">
                <a:latin typeface="Futura Lt BT" panose="020B0402020204020303" pitchFamily="34" charset="0"/>
              </a:defRPr>
            </a:lvl2pPr>
            <a:lvl3pPr marL="744538" indent="0">
              <a:spcBef>
                <a:spcPts val="400"/>
              </a:spcBef>
              <a:buFont typeface="Wingdings" panose="05000000000000000000" pitchFamily="2" charset="2"/>
              <a:buNone/>
              <a:defRPr sz="2400">
                <a:latin typeface="Futura Lt BT" panose="020B0402020204020303" pitchFamily="34" charset="0"/>
              </a:defRPr>
            </a:lvl3pPr>
            <a:lvl4pPr marL="1143000" indent="0">
              <a:spcBef>
                <a:spcPts val="400"/>
              </a:spcBef>
              <a:buFont typeface="Arial" panose="020B0604020202020204" pitchFamily="34" charset="0"/>
              <a:buNone/>
              <a:defRPr sz="2400">
                <a:latin typeface="Futura Lt BT" panose="020B0402020204020303" pitchFamily="34" charset="0"/>
              </a:defRPr>
            </a:lvl4pPr>
            <a:lvl5pPr marL="1484312" indent="0">
              <a:spcBef>
                <a:spcPts val="400"/>
              </a:spcBef>
              <a:buFont typeface="Wingdings" panose="05000000000000000000" pitchFamily="2" charset="2"/>
              <a:buNone/>
              <a:defRPr sz="2400">
                <a:latin typeface="Futura Lt BT" panose="020B04020202040203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D6797A-5545-4F9E-8980-BCF273DAF9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9008" y="6369128"/>
            <a:ext cx="424465" cy="34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0203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472043-C8CD-F886-EE7F-1E42403387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744B1B2-9ABA-2346-7A23-E46A1BE3FE3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EF61B95-E3A9-C1E6-05B0-C48EF2DA69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C30BF6A-A694-BCF5-699C-6AD3292084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B17287-EA79-CCC5-8221-F4D7E31660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544EC3D-91F6-9E48-56B7-95FE65C274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38580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/SubHead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 anchorCtr="0">
            <a:no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85011" y="1037062"/>
            <a:ext cx="11468732" cy="4964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accent3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defRPr>
            </a:lvl1pPr>
            <a:lvl2pPr marL="344488" indent="0">
              <a:buFontTx/>
              <a:buNone/>
              <a:defRPr/>
            </a:lvl2pPr>
            <a:lvl3pPr marL="744538" indent="0">
              <a:buFontTx/>
              <a:buNone/>
              <a:defRPr/>
            </a:lvl3pPr>
            <a:lvl4pPr marL="1144587" indent="0">
              <a:buFontTx/>
              <a:buNone/>
              <a:defRPr/>
            </a:lvl4pPr>
            <a:lvl5pPr marL="1484313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385007" y="1581056"/>
            <a:ext cx="11468731" cy="47752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2C82FF-99C7-4805-ADA5-5BA1AEAE5F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0905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and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97A6B0A-360E-4A10-BCB7-C2A564709B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1333500"/>
            <a:ext cx="5710989" cy="671937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23B97E47-3A75-4B66-B386-0CF14D2773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7391" y="6351570"/>
            <a:ext cx="460772" cy="39142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51F387-0172-46F6-AA29-AE4C9FF89F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110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and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97A6B0A-360E-4A10-BCB7-C2A564709BE9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1333500"/>
            <a:ext cx="5710989" cy="671937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 descr="A picture containing vector graphics&#10;&#10;Description generated with high confidence">
            <a:extLst>
              <a:ext uri="{FF2B5EF4-FFF2-40B4-BE49-F238E27FC236}">
                <a16:creationId xmlns:a16="http://schemas.microsoft.com/office/drawing/2014/main" id="{D054621C-C2A0-44A4-B261-6A10C456617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07391" y="6351570"/>
            <a:ext cx="460772" cy="391421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7F4052-8AED-41B6-A8D7-5D821116A1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276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and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97A6B0A-360E-4A10-BCB7-C2A564709BE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1333500"/>
            <a:ext cx="5710989" cy="671937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6FCD306-5FEA-456F-8DBF-14CD17C1F8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9008" y="6369128"/>
            <a:ext cx="424465" cy="34931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B4EAC6-9125-4435-90C7-5894E00BA0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480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ext and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97A6B0A-360E-4A10-BCB7-C2A564709BE9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1333500"/>
            <a:ext cx="5710989" cy="671937"/>
          </a:xfrm>
        </p:spPr>
        <p:txBody>
          <a:bodyPr anchor="b" anchorCtr="0"/>
          <a:lstStyle>
            <a:lvl1pPr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44BF43-835E-4CC0-9E45-2784E192A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9008" y="6369128"/>
            <a:ext cx="424465" cy="34931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8FCB9D-BDC1-4B12-B9DB-3A8C2154A5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042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260E735C-B27A-2645-B9B8-50F87D54F7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244" y="523221"/>
            <a:ext cx="5523083" cy="5523083"/>
          </a:xfrm>
          <a:prstGeom prst="rect">
            <a:avLst/>
          </a:prstGeom>
        </p:spPr>
      </p:pic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28AE41B-5772-E447-8EE9-C9DCABDEC5AB}"/>
              </a:ext>
            </a:extLst>
          </p:cNvPr>
          <p:cNvSpPr txBox="1">
            <a:spLocks/>
          </p:cNvSpPr>
          <p:nvPr userDrawn="1"/>
        </p:nvSpPr>
        <p:spPr>
          <a:xfrm>
            <a:off x="0" y="6133090"/>
            <a:ext cx="12191999" cy="713750"/>
          </a:xfrm>
          <a:prstGeom prst="rect">
            <a:avLst/>
          </a:prstGeom>
        </p:spPr>
        <p:txBody>
          <a:bodyPr anchor="b" anchorCtr="0">
            <a:norm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</a:rPr>
              <a:t>RIGEL PHARMACEUTICALS, INC.    1180 Veterans Boulevard, South San Francisco, CA 94080    </a:t>
            </a:r>
            <a:r>
              <a:rPr lang="en-US" sz="1200">
                <a:solidFill>
                  <a:schemeClr val="accent3">
                    <a:lumMod val="60000"/>
                    <a:lumOff val="40000"/>
                  </a:schemeClr>
                </a:solidFill>
                <a:latin typeface="Century Gothic" panose="020B0502020202020204" pitchFamily="34" charset="0"/>
                <a:hlinkClick r:id="rId3"/>
              </a:rPr>
              <a:t>www.rigel.com</a:t>
            </a:r>
            <a:endParaRPr lang="en-US" sz="1200">
              <a:solidFill>
                <a:schemeClr val="accent3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  <a:p>
            <a:pPr algn="ctr"/>
            <a:endParaRPr lang="en-US" sz="1200">
              <a:solidFill>
                <a:schemeClr val="accent3">
                  <a:lumMod val="60000"/>
                  <a:lumOff val="40000"/>
                </a:schemeClr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9235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043EC08-6306-4A94-BF3C-E07C0A39B6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0711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and Graph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1333500"/>
            <a:ext cx="11468735" cy="671937"/>
          </a:xfrm>
        </p:spPr>
        <p:txBody>
          <a:bodyPr/>
          <a:lstStyle>
            <a:lvl1pPr>
              <a:defRPr sz="3400">
                <a:latin typeface="Century Gothic" panose="020B0502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096000" y="2219093"/>
            <a:ext cx="5757746" cy="41372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Century Gothic" panose="020B0502020202020204" pitchFamily="34" charset="0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FC528C-2D8D-4E2E-91A3-6017AB74CB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9008" y="6369128"/>
            <a:ext cx="424465" cy="349318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2369C-03F0-4FDD-9CD1-3B55EC4964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73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B87EDD50-92C4-4E6E-8530-94D14BDA455E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 panose="020B050202020202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8083BC-CC90-4A6B-B25F-55118B3A9394}" type="slidenum">
              <a:rPr lang="en-US" smtClean="0"/>
              <a:t>‹#›</a:t>
            </a:fld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D8E086C-E88B-48B5-9D2A-AF06E64C8C88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2520632-A264-4258-845A-4CA44530AFE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47B9419C-A26F-4D6C-A571-C67F1A2A2EB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132957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&amp;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45E6C7B2-DCED-4069-BDDF-3B9DE069A822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rgbClr val="006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03428266-3C7E-4D12-9BA3-827E079321DC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DF4DFAF0-5FDB-40BA-A981-843AD92D7D5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61AB37C4-417A-411B-AAE4-24D10EBC2DF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5F06F3D6-6EC8-4213-AC47-36FF1E4E76EB}"/>
              </a:ext>
            </a:extLst>
          </p:cNvPr>
          <p:cNvSpPr/>
          <p:nvPr userDrawn="1"/>
        </p:nvSpPr>
        <p:spPr>
          <a:xfrm>
            <a:off x="0" y="0"/>
            <a:ext cx="12192000" cy="1258396"/>
          </a:xfrm>
          <a:prstGeom prst="rect">
            <a:avLst/>
          </a:prstGeom>
          <a:solidFill>
            <a:srgbClr val="0069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picture containing building&#10;&#10;Description automatically generated">
            <a:extLst>
              <a:ext uri="{FF2B5EF4-FFF2-40B4-BE49-F238E27FC236}">
                <a16:creationId xmlns:a16="http://schemas.microsoft.com/office/drawing/2014/main" id="{9967C162-855A-4D1E-BC19-3243F6BD11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2571"/>
                    </a14:imgEffect>
                    <a14:imgEffect>
                      <a14:brightnessContrast bright="-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88" t="47666" r="19388" b="48516"/>
          <a:stretch/>
        </p:blipFill>
        <p:spPr>
          <a:xfrm>
            <a:off x="4065" y="922552"/>
            <a:ext cx="12192000" cy="3295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9649" y="321149"/>
            <a:ext cx="10974098" cy="914387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06451" y="6442301"/>
            <a:ext cx="817673" cy="36512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C91A948-7CDE-4F54-8C7C-F0289ADE53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0366" y="1579545"/>
            <a:ext cx="10973379" cy="4359937"/>
          </a:xfrm>
          <a:prstGeom prst="rect">
            <a:avLst/>
          </a:prstGeom>
        </p:spPr>
        <p:txBody>
          <a:bodyPr/>
          <a:lstStyle>
            <a:lvl1pPr marL="231775" indent="-231775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pc="-30" baseline="0">
                <a:latin typeface="+mj-lt"/>
              </a:defRPr>
            </a:lvl1pPr>
            <a:lvl2pPr marL="633413" indent="-288925">
              <a:spcAft>
                <a:spcPts val="400"/>
              </a:spcAft>
              <a:buClr>
                <a:schemeClr val="bg1">
                  <a:lumMod val="65000"/>
                </a:schemeClr>
              </a:buClr>
              <a:buFont typeface="Calibri" panose="020F0502020204030204" pitchFamily="34" charset="0"/>
              <a:buChar char="‒"/>
              <a:defRPr sz="1800" spc="-10" baseline="0">
                <a:solidFill>
                  <a:schemeClr val="tx1"/>
                </a:solidFill>
                <a:latin typeface="+mj-lt"/>
              </a:defRPr>
            </a:lvl2pPr>
            <a:lvl3pPr>
              <a:spcAft>
                <a:spcPts val="400"/>
              </a:spcAft>
              <a:defRPr sz="1600">
                <a:solidFill>
                  <a:schemeClr val="tx1"/>
                </a:solidFill>
                <a:latin typeface="+mj-lt"/>
              </a:defRPr>
            </a:lvl3pPr>
            <a:lvl4pPr>
              <a:spcAft>
                <a:spcPts val="400"/>
              </a:spcAft>
              <a:defRPr sz="1400">
                <a:solidFill>
                  <a:schemeClr val="tx1"/>
                </a:solidFill>
                <a:latin typeface="+mj-lt"/>
              </a:defRPr>
            </a:lvl4pPr>
            <a:lvl5pPr>
              <a:spcAft>
                <a:spcPts val="400"/>
              </a:spcAft>
              <a:defRPr sz="12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29613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63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microsoft.com/office/2007/relationships/hdphoto" Target="../media/hdphoto2.wdp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image" Target="../media/image6.png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image" Target="../media/image5.png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8" Type="http://schemas.openxmlformats.org/officeDocument/2006/relationships/slideLayout" Target="../slideLayouts/slideLayout8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64A10F-BFA7-B1C0-6C02-5E812E21E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5F5927-E739-BB85-7465-E7AFFECAF7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CC8B13-DF6F-20AA-A2F2-2D0B85F9F7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D3CF89-7B5F-4BA1-ACC5-B0292F9FE94F}" type="datetimeFigureOut">
              <a:rPr lang="en-US" smtClean="0"/>
              <a:t>4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536ED6-3761-8BF4-CE2A-63B61473F2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F41407-51AC-ECC6-40C3-F9B206FC11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C9D19E-73AF-4196-B5FF-4B455855A6C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6379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solidFill>
            <a:srgbClr val="8517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panose="020B0604020202020204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0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2066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800"/>
        </a:spcAft>
        <a:buFontTx/>
        <a:buNone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rgbClr val="FFC000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Proxima Nova Rg" panose="02000506030000020004" pitchFamily="50" charset="0"/>
        <a:buChar char="-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12192000" cy="1085088"/>
          </a:xfrm>
          <a:prstGeom prst="rect">
            <a:avLst/>
          </a:prstGeom>
          <a:gradFill>
            <a:gsLst>
              <a:gs pos="16000">
                <a:srgbClr val="232C3D"/>
              </a:gs>
              <a:gs pos="100000">
                <a:srgbClr val="525F7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1"/>
          </p:nvPr>
        </p:nvSpPr>
        <p:spPr>
          <a:xfrm>
            <a:off x="524256" y="1341440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4566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cap="none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800"/>
        </a:spcAft>
        <a:buFontTx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6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54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2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Proxima Nova Rg" panose="02000506030000020004" pitchFamily="50" charset="0"/>
        <a:buChar char="-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00000" indent="-18000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6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53">
          <p15:clr>
            <a:srgbClr val="F26B43"/>
          </p15:clr>
        </p15:guide>
        <p15:guide id="2" orient="horz" pos="663">
          <p15:clr>
            <a:srgbClr val="F26B43"/>
          </p15:clr>
        </p15:guide>
        <p15:guide id="3" pos="7227">
          <p15:clr>
            <a:srgbClr val="F26B43"/>
          </p15:clr>
        </p15:guide>
        <p15:guide id="4" orient="horz" pos="3816">
          <p15:clr>
            <a:srgbClr val="F26B43"/>
          </p15:clr>
        </p15:guide>
        <p15:guide id="5" orient="horz" pos="845">
          <p15:clr>
            <a:srgbClr val="F26B43"/>
          </p15:clr>
        </p15:guide>
        <p15:guide id="6" orient="horz" pos="595">
          <p15:clr>
            <a:srgbClr val="F26B43"/>
          </p15:clr>
        </p15:guide>
        <p15:guide id="7" orient="horz" pos="73">
          <p15:clr>
            <a:srgbClr val="F26B43"/>
          </p15:clr>
        </p15:guide>
        <p15:guide id="8" orient="horz" pos="113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82600" y="0"/>
            <a:ext cx="11108266" cy="12107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2600" y="1325880"/>
            <a:ext cx="11108266" cy="47434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82600" y="6069326"/>
            <a:ext cx="939800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Rectangle 13"/>
          <p:cNvSpPr/>
          <p:nvPr userDrawn="1"/>
        </p:nvSpPr>
        <p:spPr>
          <a:xfrm>
            <a:off x="0" y="6721618"/>
            <a:ext cx="12192000" cy="1363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0" y="3681"/>
            <a:ext cx="12192000" cy="6405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06C9B1-CDAA-46DC-8A97-4F133C12DCEA}"/>
              </a:ext>
            </a:extLst>
          </p:cNvPr>
          <p:cNvSpPr txBox="1"/>
          <p:nvPr userDrawn="1"/>
        </p:nvSpPr>
        <p:spPr>
          <a:xfrm>
            <a:off x="1972492" y="6487468"/>
            <a:ext cx="824701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 AND FOR EDUCATIONAL PURPOSES ONLY – NOT FOR PROMOTIONAL USE. DO NOT COPY, DISSEMINATE, OR DISTRIBUTE.</a:t>
            </a:r>
          </a:p>
          <a:p>
            <a:pPr algn="ctr"/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/>
            <a:endParaRPr lang="en-US" sz="900" b="1" dirty="0">
              <a:solidFill>
                <a:schemeClr val="tx1">
                  <a:lumMod val="65000"/>
                  <a:lumOff val="35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47E01C7-6D4E-5746-96DE-383CEC82BF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39" t="-7983" r="-12073" b="-4734"/>
          <a:stretch/>
        </p:blipFill>
        <p:spPr>
          <a:xfrm>
            <a:off x="10604200" y="5844227"/>
            <a:ext cx="1140125" cy="7768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0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4"/>
        </a:buClr>
        <a:buFont typeface="Wingdings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8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192">
          <p15:clr>
            <a:srgbClr val="F26B43"/>
          </p15:clr>
        </p15:guide>
        <p15:guide id="3" pos="748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B0991D9-3B18-44E7-9168-A716DD3C9464}"/>
              </a:ext>
            </a:extLst>
          </p:cNvPr>
          <p:cNvSpPr/>
          <p:nvPr userDrawn="1"/>
        </p:nvSpPr>
        <p:spPr>
          <a:xfrm>
            <a:off x="0" y="6337189"/>
            <a:ext cx="12192000" cy="52876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5011" y="344009"/>
            <a:ext cx="11468735" cy="91438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06451" y="6415641"/>
            <a:ext cx="817673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 baseline="0">
                <a:solidFill>
                  <a:schemeClr val="tx2"/>
                </a:solidFill>
                <a:latin typeface="+mj-lt"/>
              </a:defRPr>
            </a:lvl1pPr>
          </a:lstStyle>
          <a:p>
            <a:fld id="{D8D0F2C8-8DAD-480A-8C12-6A902EB0F7EF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01827A-F7AB-419F-8C86-F7E2F6EB6A3A}"/>
              </a:ext>
            </a:extLst>
          </p:cNvPr>
          <p:cNvGrpSpPr/>
          <p:nvPr userDrawn="1"/>
        </p:nvGrpSpPr>
        <p:grpSpPr>
          <a:xfrm>
            <a:off x="11580920" y="6430711"/>
            <a:ext cx="424465" cy="349318"/>
            <a:chOff x="11588540" y="6423091"/>
            <a:chExt cx="424465" cy="34931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7F1AC69-1A34-4C89-B234-9E4B701E1C6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588540" y="6423091"/>
              <a:ext cx="424465" cy="349318"/>
            </a:xfrm>
            <a:prstGeom prst="rect">
              <a:avLst/>
            </a:prstGeom>
          </p:spPr>
        </p:pic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269DF58-6F0B-43C0-A852-665ABE9B3B7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3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rightnessContrast bright="40000" contrast="-40000"/>
                      </a14:imgEffect>
                    </a14:imgLayer>
                  </a14:imgProps>
                </a:ext>
              </a:extLst>
            </a:blip>
            <a:srcRect t="39481"/>
            <a:stretch/>
          </p:blipFill>
          <p:spPr>
            <a:xfrm>
              <a:off x="11590921" y="6562157"/>
              <a:ext cx="422084" cy="2102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8725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  <p:sldLayoutId id="2147483745" r:id="rId21"/>
    <p:sldLayoutId id="2147483746" r:id="rId22"/>
    <p:sldLayoutId id="2147483747" r:id="rId23"/>
    <p:sldLayoutId id="2147483748" r:id="rId24"/>
    <p:sldLayoutId id="2147483749" r:id="rId25"/>
    <p:sldLayoutId id="2147483750" r:id="rId26"/>
    <p:sldLayoutId id="2147483751" r:id="rId27"/>
    <p:sldLayoutId id="2147483752" r:id="rId28"/>
    <p:sldLayoutId id="2147483753" r:id="rId29"/>
    <p:sldLayoutId id="2147483754" r:id="rId3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400" b="0" kern="1200" spc="-30" baseline="0" dirty="0">
          <a:ln w="6350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Wingdings" panose="05000000000000000000" pitchFamily="2" charset="2"/>
        <a:buNone/>
        <a:defRPr lang="en-US" sz="2200" kern="1200" dirty="0">
          <a:solidFill>
            <a:schemeClr val="tx1"/>
          </a:solidFill>
          <a:latin typeface="Futura Bk BT" panose="020B0502020204020303" pitchFamily="34" charset="0"/>
          <a:ea typeface="+mn-ea"/>
          <a:cs typeface="+mn-cs"/>
        </a:defRPr>
      </a:lvl1pPr>
      <a:lvl2pPr marL="344488" indent="0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Futura Bk BT" panose="020B0502020204020303" pitchFamily="34" charset="0"/>
          <a:ea typeface="+mn-ea"/>
          <a:cs typeface="+mn-cs"/>
        </a:defRPr>
      </a:lvl2pPr>
      <a:lvl3pPr marL="744538" indent="0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None/>
        <a:defRPr lang="en-US" sz="1800" kern="1200" dirty="0" smtClean="0">
          <a:solidFill>
            <a:schemeClr val="tx1"/>
          </a:solidFill>
          <a:latin typeface="Futura Bk BT" panose="020B0502020204020303" pitchFamily="34" charset="0"/>
          <a:ea typeface="+mn-ea"/>
          <a:cs typeface="+mn-cs"/>
        </a:defRPr>
      </a:lvl3pPr>
      <a:lvl4pPr marL="1144587" indent="0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None/>
        <a:defRPr lang="en-US" sz="1600" kern="1200" dirty="0" smtClean="0">
          <a:solidFill>
            <a:schemeClr val="tx1"/>
          </a:solidFill>
          <a:latin typeface="Futura Bk BT" panose="020B0502020204020303" pitchFamily="34" charset="0"/>
          <a:ea typeface="+mn-ea"/>
          <a:cs typeface="+mn-cs"/>
        </a:defRPr>
      </a:lvl4pPr>
      <a:lvl5pPr marL="1484313" indent="0" algn="l" defTabSz="914400" rtl="0" eaLnBrk="1" latinLnBrk="0" hangingPunct="1">
        <a:lnSpc>
          <a:spcPct val="85000"/>
        </a:lnSpc>
        <a:spcBef>
          <a:spcPts val="400"/>
        </a:spcBef>
        <a:buClr>
          <a:schemeClr val="accent1"/>
        </a:buClr>
        <a:buFont typeface="Arial" panose="020B0604020202020204" pitchFamily="34" charset="0"/>
        <a:buNone/>
        <a:defRPr lang="en-US" sz="1400" kern="1200" dirty="0">
          <a:solidFill>
            <a:schemeClr val="tx1"/>
          </a:solidFill>
          <a:latin typeface="Futura Bk BT" panose="020B05020202040203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2.xml"/><Relationship Id="rId6" Type="http://schemas.microsoft.com/office/2007/relationships/hdphoto" Target="../media/hdphoto6.wdp"/><Relationship Id="rId5" Type="http://schemas.openxmlformats.org/officeDocument/2006/relationships/image" Target="../media/image40.png"/><Relationship Id="rId4" Type="http://schemas.microsoft.com/office/2007/relationships/hdphoto" Target="../media/hdphoto5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9.wdp"/><Relationship Id="rId3" Type="http://schemas.openxmlformats.org/officeDocument/2006/relationships/image" Target="../media/image41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.xml"/><Relationship Id="rId6" Type="http://schemas.microsoft.com/office/2007/relationships/hdphoto" Target="../media/hdphoto8.wdp"/><Relationship Id="rId5" Type="http://schemas.openxmlformats.org/officeDocument/2006/relationships/image" Target="../media/image42.png"/><Relationship Id="rId4" Type="http://schemas.microsoft.com/office/2007/relationships/hdphoto" Target="../media/hdphoto7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3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emf"/><Relationship Id="rId2" Type="http://schemas.openxmlformats.org/officeDocument/2006/relationships/oleObject" Target="../embeddings/oleObject3.bin"/><Relationship Id="rId1" Type="http://schemas.openxmlformats.org/officeDocument/2006/relationships/slideLayout" Target="../slideLayouts/slideLayout3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57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59.e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6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6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6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emf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emf"/><Relationship Id="rId5" Type="http://schemas.openxmlformats.org/officeDocument/2006/relationships/image" Target="../media/image19.emf"/><Relationship Id="rId4" Type="http://schemas.openxmlformats.org/officeDocument/2006/relationships/image" Target="../media/image18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4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4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4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4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7.png"/><Relationship Id="rId11" Type="http://schemas.openxmlformats.org/officeDocument/2006/relationships/image" Target="../media/image32.png"/><Relationship Id="rId5" Type="http://schemas.openxmlformats.org/officeDocument/2006/relationships/image" Target="../media/image26.png"/><Relationship Id="rId10" Type="http://schemas.openxmlformats.org/officeDocument/2006/relationships/image" Target="../media/image31.svg"/><Relationship Id="rId4" Type="http://schemas.openxmlformats.org/officeDocument/2006/relationships/image" Target="../media/image25.svg"/><Relationship Id="rId9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microsoft.com/office/2007/relationships/hdphoto" Target="../media/hdphoto4.wdp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7.png"/><Relationship Id="rId5" Type="http://schemas.microsoft.com/office/2007/relationships/hdphoto" Target="../media/hdphoto3.wdp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BAD76F3E-3A97-486B-B402-44400A8B91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2D4AAA-8386-765F-CFF7-43784FDBC6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199" y="1093788"/>
            <a:ext cx="10506455" cy="2967208"/>
          </a:xfrm>
        </p:spPr>
        <p:txBody>
          <a:bodyPr>
            <a:noAutofit/>
          </a:bodyPr>
          <a:lstStyle/>
          <a:p>
            <a:pPr algn="r"/>
            <a:r>
              <a:rPr lang="en-US" sz="4800" dirty="0"/>
              <a:t>RTP: Current and Emerging Role of Biomarker-Directed Therapeutic Approaches for Patients with AML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AF4823F-CD6D-E08A-61E3-C50DFFED90A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00924" y="4619624"/>
            <a:ext cx="3946779" cy="1038225"/>
          </a:xfrm>
        </p:spPr>
        <p:txBody>
          <a:bodyPr>
            <a:normAutofit/>
          </a:bodyPr>
          <a:lstStyle/>
          <a:p>
            <a:pPr algn="r"/>
            <a:r>
              <a:rPr lang="en-US" dirty="0"/>
              <a:t>Courtney DiNardo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91F6B52-91F4-4AEB-B6DB-29FEBCF28C8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41248" y="4331166"/>
            <a:ext cx="10506456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CD6F061-7C53-44F4-9794-953DB70A45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9346882" y="2348839"/>
            <a:ext cx="54864" cy="39467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8973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0" y="56239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IZ for patients with FLT3-”like” gene expression signa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IWI trial of QUIZ in wild-type FLT3 patients (PETHEMA group)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8734BE19-B57E-1522-5BD0-55E9F5AF50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17" name="Google Shape;178;p31">
            <a:extLst>
              <a:ext uri="{FF2B5EF4-FFF2-40B4-BE49-F238E27FC236}">
                <a16:creationId xmlns:a16="http://schemas.microsoft.com/office/drawing/2014/main" id="{9CAB470A-322A-CAFF-1624-374C416AC757}"/>
              </a:ext>
            </a:extLst>
          </p:cNvPr>
          <p:cNvPicPr preferRelativeResize="0"/>
          <p:nvPr/>
        </p:nvPicPr>
        <p:blipFill>
          <a:blip r:embed="rId3">
            <a:alphaModFix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9631" y="1849348"/>
            <a:ext cx="4025366" cy="2942041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B40F5F4-92AF-26C8-94ED-BDB3CBDB4306}"/>
              </a:ext>
            </a:extLst>
          </p:cNvPr>
          <p:cNvSpPr txBox="1"/>
          <p:nvPr/>
        </p:nvSpPr>
        <p:spPr>
          <a:xfrm>
            <a:off x="731843" y="1375367"/>
            <a:ext cx="38460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FLT3-LIKE AML (n=81)</a:t>
            </a:r>
          </a:p>
        </p:txBody>
      </p:sp>
      <p:pic>
        <p:nvPicPr>
          <p:cNvPr id="19" name="Google Shape;199;p33">
            <a:extLst>
              <a:ext uri="{FF2B5EF4-FFF2-40B4-BE49-F238E27FC236}">
                <a16:creationId xmlns:a16="http://schemas.microsoft.com/office/drawing/2014/main" id="{BA20613E-C40E-D14B-23D6-E37538574317}"/>
              </a:ext>
            </a:extLst>
          </p:cNvPr>
          <p:cNvPicPr preferRelativeResize="0"/>
          <p:nvPr/>
        </p:nvPicPr>
        <p:blipFill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587764" y="1561673"/>
            <a:ext cx="4050862" cy="3089530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1FDBCE9B-E728-54E5-B435-207FCBEE1A9F}"/>
              </a:ext>
            </a:extLst>
          </p:cNvPr>
          <p:cNvSpPr txBox="1"/>
          <p:nvPr/>
        </p:nvSpPr>
        <p:spPr>
          <a:xfrm>
            <a:off x="5580529" y="1375367"/>
            <a:ext cx="3058097" cy="3728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LT3-LIKE AML (n=80)</a:t>
            </a:r>
          </a:p>
        </p:txBody>
      </p:sp>
      <p:sp>
        <p:nvSpPr>
          <p:cNvPr id="21" name="Google Shape;207;p34">
            <a:extLst>
              <a:ext uri="{FF2B5EF4-FFF2-40B4-BE49-F238E27FC236}">
                <a16:creationId xmlns:a16="http://schemas.microsoft.com/office/drawing/2014/main" id="{8B734445-F78E-A117-83A6-18279D2ED97B}"/>
              </a:ext>
            </a:extLst>
          </p:cNvPr>
          <p:cNvSpPr/>
          <p:nvPr/>
        </p:nvSpPr>
        <p:spPr>
          <a:xfrm>
            <a:off x="8744506" y="2438794"/>
            <a:ext cx="3281433" cy="1323300"/>
          </a:xfrm>
          <a:prstGeom prst="rect">
            <a:avLst/>
          </a:prstGeom>
          <a:solidFill>
            <a:srgbClr val="F6B26B"/>
          </a:solidFill>
          <a:ln w="9525" cap="flat" cmpd="sng">
            <a:solidFill>
              <a:srgbClr val="F6B26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FLT3-like AMLs: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42.5%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MP1</a:t>
            </a:r>
            <a:r>
              <a:rPr kumimoji="0" lang="es" sz="11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,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38.7%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NMT3A</a:t>
            </a:r>
            <a:r>
              <a:rPr kumimoji="0" lang="es" sz="1100" b="1" i="1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,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23.7% double mutants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on-FLT3-like AMLs: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6.2%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MP1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, 14.8%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NMT3A</a:t>
            </a:r>
            <a:r>
              <a:rPr kumimoji="0" lang="es" sz="1100" b="1" i="0" u="none" strike="noStrike" kern="1200" cap="none" spc="0" normalizeH="0" baseline="30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, 2.5% double mutants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22" name="Google Shape;208;p34">
            <a:extLst>
              <a:ext uri="{FF2B5EF4-FFF2-40B4-BE49-F238E27FC236}">
                <a16:creationId xmlns:a16="http://schemas.microsoft.com/office/drawing/2014/main" id="{595CC2A8-87BD-CE53-D360-7E1F525B9F72}"/>
              </a:ext>
            </a:extLst>
          </p:cNvPr>
          <p:cNvSpPr/>
          <p:nvPr/>
        </p:nvSpPr>
        <p:spPr>
          <a:xfrm>
            <a:off x="8744506" y="2068819"/>
            <a:ext cx="3281433" cy="369900"/>
          </a:xfrm>
          <a:prstGeom prst="rect">
            <a:avLst/>
          </a:prstGeom>
          <a:solidFill>
            <a:srgbClr val="E69138"/>
          </a:solidFill>
          <a:ln w="9525" cap="flat" cmpd="sng">
            <a:solidFill>
              <a:srgbClr val="E6913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1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MP1</a:t>
            </a:r>
            <a:r>
              <a:rPr kumimoji="0" lang="es" sz="1400" b="1" i="1" u="none" strike="noStrike" kern="1200" cap="none" spc="0" normalizeH="0" baseline="3000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</a:t>
            </a:r>
            <a:r>
              <a:rPr kumimoji="0" lang="es" sz="1400" b="1" i="1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 </a:t>
            </a: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&amp; </a:t>
            </a:r>
            <a:r>
              <a:rPr kumimoji="0" lang="es" sz="1400" b="1" i="1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NMT3A</a:t>
            </a:r>
            <a:r>
              <a:rPr kumimoji="0" lang="es" sz="1400" b="1" i="1" u="none" strike="noStrike" kern="1200" cap="none" spc="0" normalizeH="0" baseline="3000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</a:t>
            </a:r>
            <a:r>
              <a:rPr kumimoji="0" lang="es" sz="1400" b="1" i="1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 </a:t>
            </a: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enrichment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srgbClr val="F7F7F8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23" name="Google Shape;219;p35">
            <a:extLst>
              <a:ext uri="{FF2B5EF4-FFF2-40B4-BE49-F238E27FC236}">
                <a16:creationId xmlns:a16="http://schemas.microsoft.com/office/drawing/2014/main" id="{16868EA9-C3D8-D52E-3445-2B51ADB0339D}"/>
              </a:ext>
            </a:extLst>
          </p:cNvPr>
          <p:cNvSpPr/>
          <p:nvPr/>
        </p:nvSpPr>
        <p:spPr>
          <a:xfrm>
            <a:off x="9948667" y="3895076"/>
            <a:ext cx="1846800" cy="597600"/>
          </a:xfrm>
          <a:prstGeom prst="rect">
            <a:avLst/>
          </a:prstGeom>
          <a:noFill/>
          <a:ln w="19050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FLT3-Like with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PM1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or </a:t>
            </a:r>
            <a:r>
              <a:rPr kumimoji="0" lang="es" sz="11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NMT3A </a:t>
            </a: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 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26% were FLT3-TKD</a:t>
            </a:r>
            <a:endParaRPr kumimoji="0" sz="11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58074EB-EC88-6DC5-E056-DB58AE666A35}"/>
              </a:ext>
            </a:extLst>
          </p:cNvPr>
          <p:cNvSpPr txBox="1"/>
          <p:nvPr/>
        </p:nvSpPr>
        <p:spPr>
          <a:xfrm>
            <a:off x="9212580" y="6137910"/>
            <a:ext cx="2582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quera A, ASH #974</a:t>
            </a:r>
          </a:p>
        </p:txBody>
      </p:sp>
      <p:sp>
        <p:nvSpPr>
          <p:cNvPr id="2" name="Google Shape;186;p32">
            <a:extLst>
              <a:ext uri="{FF2B5EF4-FFF2-40B4-BE49-F238E27FC236}">
                <a16:creationId xmlns:a16="http://schemas.microsoft.com/office/drawing/2014/main" id="{7DEB8340-C11D-DF1D-0ED8-D2C90869451C}"/>
              </a:ext>
            </a:extLst>
          </p:cNvPr>
          <p:cNvSpPr/>
          <p:nvPr/>
        </p:nvSpPr>
        <p:spPr>
          <a:xfrm>
            <a:off x="5250957" y="5223258"/>
            <a:ext cx="3903600" cy="13167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9525" cap="flat" cmpd="sng">
            <a:solidFill>
              <a:srgbClr val="F6B26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49.67% of FLT3-ITD negative patients (N=80)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ELN-17 Classification: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Low Risk: 30.4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Intermediate Risk: 40.5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High Risk: 29.1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4" name="Google Shape;187;p32">
            <a:extLst>
              <a:ext uri="{FF2B5EF4-FFF2-40B4-BE49-F238E27FC236}">
                <a16:creationId xmlns:a16="http://schemas.microsoft.com/office/drawing/2014/main" id="{8D0DBF12-63DC-F094-7EC7-FC7AE3FAEEF2}"/>
              </a:ext>
            </a:extLst>
          </p:cNvPr>
          <p:cNvSpPr/>
          <p:nvPr/>
        </p:nvSpPr>
        <p:spPr>
          <a:xfrm>
            <a:off x="5251082" y="4818383"/>
            <a:ext cx="3903600" cy="404700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 w="9525" cap="flat" cmpd="sng">
            <a:solidFill>
              <a:srgbClr val="E6913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6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Characteristics of FLT3-Like Patients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7F7F8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5" name="Google Shape;169;p30">
            <a:extLst>
              <a:ext uri="{FF2B5EF4-FFF2-40B4-BE49-F238E27FC236}">
                <a16:creationId xmlns:a16="http://schemas.microsoft.com/office/drawing/2014/main" id="{44C5EDFC-6C70-7295-2C9E-93F4126B8A32}"/>
              </a:ext>
            </a:extLst>
          </p:cNvPr>
          <p:cNvSpPr/>
          <p:nvPr/>
        </p:nvSpPr>
        <p:spPr>
          <a:xfrm>
            <a:off x="674320" y="5196107"/>
            <a:ext cx="3903600" cy="13167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>
            <a:solidFill>
              <a:srgbClr val="F6B26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50.33% of FLT3-ITD negative patients (N=81)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ELN-17 Classification: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Low Risk: 18.2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Intermediate Risk: 39.5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High Risk: 42.0%</a:t>
            </a:r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6" name="Google Shape;170;p30">
            <a:extLst>
              <a:ext uri="{FF2B5EF4-FFF2-40B4-BE49-F238E27FC236}">
                <a16:creationId xmlns:a16="http://schemas.microsoft.com/office/drawing/2014/main" id="{5F4AB9AC-1DD4-EF53-2C44-2E554912E194}"/>
              </a:ext>
            </a:extLst>
          </p:cNvPr>
          <p:cNvSpPr/>
          <p:nvPr/>
        </p:nvSpPr>
        <p:spPr>
          <a:xfrm>
            <a:off x="674320" y="4834939"/>
            <a:ext cx="3903600" cy="40470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 cap="flat" cmpd="sng">
            <a:solidFill>
              <a:srgbClr val="E6913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6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Characteristics of Non-FLT3-Like Cluster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7F7F8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30972561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94035" y="132516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IWI results of QUIZ for FLT3-ITD wild-type AM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08A77DA8-C7A6-479C-651D-DC3C44B776AD}"/>
              </a:ext>
            </a:extLst>
          </p:cNvPr>
          <p:cNvSpPr txBox="1">
            <a:spLocks/>
          </p:cNvSpPr>
          <p:nvPr/>
        </p:nvSpPr>
        <p:spPr>
          <a:xfrm>
            <a:off x="524256" y="2066795"/>
            <a:ext cx="11161776" cy="399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Proxima Nova Rg" panose="02000506030000020004" pitchFamily="50" charset="0"/>
              <a:buChar char="-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QUIWI trial provides initial evidence of efficacy of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izarti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with standard chemotherapy for FLT3-WT patients with “FLT3-like” disease based on expression patterns 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rgbClr val="47484F"/>
                </a:solidFill>
              </a:rPr>
              <a:t>Expression patterns are hard to obtain in real time in the clinical setting, but this contributes to the growing body of evidence suggesting a more personalized and targeted approach for AML therapy is possible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84686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85569" y="73249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Gilteritinib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in Combination With Induction and Consolidation Chemotherapy and as Maintenance Therapy: A Phase IB Study in Patients With Newly Diagnosed AM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5A580C-57B1-18B2-2622-D18D1AB9E570}"/>
              </a:ext>
            </a:extLst>
          </p:cNvPr>
          <p:cNvSpPr txBox="1"/>
          <p:nvPr/>
        </p:nvSpPr>
        <p:spPr>
          <a:xfrm>
            <a:off x="9999133" y="6309104"/>
            <a:ext cx="219286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 err="1"/>
              <a:t>Pratz</a:t>
            </a:r>
            <a:r>
              <a:rPr lang="en-US" sz="1200" dirty="0"/>
              <a:t> KW et al. J Clin Oncol 2023;41(26):4236-46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872147E-6C89-71A4-A0F9-53E91DF24BD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01049" y="1265242"/>
            <a:ext cx="5584656" cy="160846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5E5D5306-FEE0-248E-D7A7-3E22F3F0F44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35625" y="3361842"/>
            <a:ext cx="3886042" cy="322757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BE8A1E-33B2-8074-E403-346C43B37B5B}"/>
              </a:ext>
            </a:extLst>
          </p:cNvPr>
          <p:cNvSpPr txBox="1"/>
          <p:nvPr/>
        </p:nvSpPr>
        <p:spPr>
          <a:xfrm>
            <a:off x="1253067" y="2968477"/>
            <a:ext cx="2125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O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BDD7564-B364-6687-501A-7D72F848CEE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127501" y="3078824"/>
            <a:ext cx="7883497" cy="3026956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D36F4908-3054-6FBF-93CB-8585AE1EC4C8}"/>
              </a:ext>
            </a:extLst>
          </p:cNvPr>
          <p:cNvSpPr txBox="1"/>
          <p:nvPr/>
        </p:nvSpPr>
        <p:spPr>
          <a:xfrm>
            <a:off x="6804247" y="1441530"/>
            <a:ext cx="446488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0" i="0" u="none" strike="noStrike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In the 36 participants with </a:t>
            </a:r>
            <a:r>
              <a:rPr lang="en-US" b="0" i="1" u="none" strike="noStrike" dirty="0">
                <a:solidFill>
                  <a:srgbClr val="333333"/>
                </a:solidFill>
                <a:effectLst/>
                <a:latin typeface="-apple-system"/>
              </a:rPr>
              <a:t>FLT3</a:t>
            </a:r>
            <a:r>
              <a:rPr lang="en-US" b="0" i="0" u="none" strike="noStrike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 mutations, the </a:t>
            </a:r>
            <a:r>
              <a:rPr lang="en-US" i="0" u="sng" strike="noStrike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median OS was 46.1 months</a:t>
            </a:r>
            <a:r>
              <a:rPr lang="en-US" b="0" i="0" u="none" strike="noStrike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, and anthracycline or </a:t>
            </a:r>
            <a:r>
              <a:rPr lang="en-US" b="0" i="0" u="none" strike="noStrike" dirty="0" err="1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gilteritinib</a:t>
            </a:r>
            <a:r>
              <a:rPr lang="en-US" b="0" i="0" u="none" strike="noStrike" dirty="0">
                <a:solidFill>
                  <a:srgbClr val="333333"/>
                </a:solidFill>
                <a:effectLst/>
                <a:highlight>
                  <a:srgbClr val="FFFFFF"/>
                </a:highlight>
                <a:latin typeface="-apple-system"/>
              </a:rPr>
              <a:t> start day during induction did not influence surviv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941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0BF3FFF2-FC01-4430-92D6-C1102E8A0038}"/>
              </a:ext>
            </a:extLst>
          </p:cNvPr>
          <p:cNvSpPr/>
          <p:nvPr/>
        </p:nvSpPr>
        <p:spPr>
          <a:xfrm>
            <a:off x="3581396" y="1079774"/>
            <a:ext cx="5041765" cy="55930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FC1BCD-770A-44AA-8E6B-683A9C91D798}"/>
              </a:ext>
            </a:extLst>
          </p:cNvPr>
          <p:cNvSpPr txBox="1"/>
          <p:nvPr/>
        </p:nvSpPr>
        <p:spPr>
          <a:xfrm>
            <a:off x="3581400" y="1041675"/>
            <a:ext cx="50417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ML with a FLT3-ITD mut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Morphologic first remission with only 1 or 2 induction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27FEF38-2521-4C6D-8743-65EBAE1AB13B}"/>
              </a:ext>
            </a:extLst>
          </p:cNvPr>
          <p:cNvSpPr/>
          <p:nvPr/>
        </p:nvSpPr>
        <p:spPr>
          <a:xfrm>
            <a:off x="5407964" y="1966288"/>
            <a:ext cx="1411933" cy="42493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B6611F-1256-4AF6-8D9F-48009C6832C1}"/>
              </a:ext>
            </a:extLst>
          </p:cNvPr>
          <p:cNvSpPr txBox="1"/>
          <p:nvPr/>
        </p:nvSpPr>
        <p:spPr>
          <a:xfrm>
            <a:off x="5448895" y="1967122"/>
            <a:ext cx="127791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istration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6B6E47A-4283-48A5-9DA2-82EDF81705C0}"/>
              </a:ext>
            </a:extLst>
          </p:cNvPr>
          <p:cNvGrpSpPr/>
          <p:nvPr/>
        </p:nvGrpSpPr>
        <p:grpSpPr>
          <a:xfrm>
            <a:off x="8013654" y="2050198"/>
            <a:ext cx="3993401" cy="369513"/>
            <a:chOff x="8013654" y="2024618"/>
            <a:chExt cx="3993401" cy="369513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94A1C180-2311-463F-AEF2-490058BC82A9}"/>
                </a:ext>
              </a:extLst>
            </p:cNvPr>
            <p:cNvSpPr/>
            <p:nvPr/>
          </p:nvSpPr>
          <p:spPr>
            <a:xfrm>
              <a:off x="8057314" y="2024618"/>
              <a:ext cx="3906083" cy="36951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426B5BD-8FB3-4CD9-ADB6-1A3B6FEA7AEC}"/>
                </a:ext>
              </a:extLst>
            </p:cNvPr>
            <p:cNvSpPr txBox="1"/>
            <p:nvPr/>
          </p:nvSpPr>
          <p:spPr>
            <a:xfrm>
              <a:off x="8013654" y="2037729"/>
              <a:ext cx="399340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arrow aspirate sample for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00FFFF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MRD analysis</a:t>
              </a: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CBAD4C-8ADE-4626-8A9F-5FCC76A562F6}"/>
              </a:ext>
            </a:extLst>
          </p:cNvPr>
          <p:cNvGrpSpPr/>
          <p:nvPr/>
        </p:nvGrpSpPr>
        <p:grpSpPr>
          <a:xfrm>
            <a:off x="3505201" y="2724099"/>
            <a:ext cx="5236098" cy="584775"/>
            <a:chOff x="3505201" y="2844225"/>
            <a:chExt cx="5236098" cy="584775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FD6E689-B6AE-4644-A50D-1ADCEE07FA5A}"/>
                </a:ext>
              </a:extLst>
            </p:cNvPr>
            <p:cNvSpPr/>
            <p:nvPr/>
          </p:nvSpPr>
          <p:spPr>
            <a:xfrm>
              <a:off x="3505201" y="2865748"/>
              <a:ext cx="5214884" cy="55930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79E70987-9A2E-4318-8791-5BE8607F1F98}"/>
                </a:ext>
              </a:extLst>
            </p:cNvPr>
            <p:cNvSpPr txBox="1"/>
            <p:nvPr/>
          </p:nvSpPr>
          <p:spPr>
            <a:xfrm>
              <a:off x="3635542" y="2844225"/>
              <a:ext cx="5105757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logeneic transplant within 1 year of CR1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ny conditioning, donor, or GVHD prophylaxis allowed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BC450D7B-20D5-4B2B-AC3F-F6F9225AE4F7}"/>
              </a:ext>
            </a:extLst>
          </p:cNvPr>
          <p:cNvGrpSpPr/>
          <p:nvPr/>
        </p:nvGrpSpPr>
        <p:grpSpPr>
          <a:xfrm>
            <a:off x="2480289" y="3543182"/>
            <a:ext cx="7273310" cy="1077218"/>
            <a:chOff x="2480289" y="3543182"/>
            <a:chExt cx="7273310" cy="107721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2D7026A-2881-47F7-8246-3948B642B1D1}"/>
                </a:ext>
              </a:extLst>
            </p:cNvPr>
            <p:cNvSpPr/>
            <p:nvPr/>
          </p:nvSpPr>
          <p:spPr>
            <a:xfrm>
              <a:off x="2480289" y="3588604"/>
              <a:ext cx="7273310" cy="1031796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C5E9334-C851-4337-A71D-E82BBDD34621}"/>
                </a:ext>
              </a:extLst>
            </p:cNvPr>
            <p:cNvSpPr txBox="1"/>
            <p:nvPr/>
          </p:nvSpPr>
          <p:spPr>
            <a:xfrm>
              <a:off x="2667000" y="3543182"/>
              <a:ext cx="6909264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Day +30 to +90 after transplant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ngraftment (ANC </a:t>
              </a:r>
              <a:r>
                <a:rPr kumimoji="0" lang="en-US" sz="16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00, platelets </a:t>
              </a:r>
              <a:r>
                <a:rPr kumimoji="0" lang="en-US" sz="16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0K, transfusion independent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ble to take oral medication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No active grades II-IV acute GVHD requiring &gt; 0.5 mg/kg prednisone daily</a:t>
              </a: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955B046-EC85-4552-A376-CA21545FBFB0}"/>
              </a:ext>
            </a:extLst>
          </p:cNvPr>
          <p:cNvGrpSpPr/>
          <p:nvPr/>
        </p:nvGrpSpPr>
        <p:grpSpPr>
          <a:xfrm>
            <a:off x="5320787" y="4919245"/>
            <a:ext cx="1550424" cy="345757"/>
            <a:chOff x="945247" y="1911698"/>
            <a:chExt cx="1550424" cy="34575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E2C9873-5B5C-4B50-A498-B4BD196FCA8C}"/>
                </a:ext>
              </a:extLst>
            </p:cNvPr>
            <p:cNvSpPr/>
            <p:nvPr/>
          </p:nvSpPr>
          <p:spPr>
            <a:xfrm>
              <a:off x="945247" y="1911698"/>
              <a:ext cx="1535042" cy="33855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AF17525-E362-484B-955F-94D3F8DA555E}"/>
                </a:ext>
              </a:extLst>
            </p:cNvPr>
            <p:cNvSpPr txBox="1"/>
            <p:nvPr/>
          </p:nvSpPr>
          <p:spPr>
            <a:xfrm>
              <a:off x="945247" y="1918901"/>
              <a:ext cx="15504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ndomization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B6BE7A0-6251-4FCB-8F3B-181A4B2262A2}"/>
              </a:ext>
            </a:extLst>
          </p:cNvPr>
          <p:cNvGrpSpPr/>
          <p:nvPr/>
        </p:nvGrpSpPr>
        <p:grpSpPr>
          <a:xfrm>
            <a:off x="2210963" y="5486400"/>
            <a:ext cx="7770076" cy="1077218"/>
            <a:chOff x="2210963" y="5486400"/>
            <a:chExt cx="7770076" cy="107721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6227749-98FE-439C-BDAE-0E0724BB998C}"/>
                </a:ext>
              </a:extLst>
            </p:cNvPr>
            <p:cNvSpPr/>
            <p:nvPr/>
          </p:nvSpPr>
          <p:spPr>
            <a:xfrm>
              <a:off x="2285508" y="5496821"/>
              <a:ext cx="7620492" cy="1066797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330B3AC3-5D7A-427B-B03E-D2D0CB649361}"/>
                </a:ext>
              </a:extLst>
            </p:cNvPr>
            <p:cNvSpPr txBox="1"/>
            <p:nvPr/>
          </p:nvSpPr>
          <p:spPr>
            <a:xfrm>
              <a:off x="2210963" y="5486400"/>
              <a:ext cx="7770076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ratification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onditioning regimen intensity (myeloablative vs. reduced intensity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ime from transplant to randomization (30-60 days vs. 61-90 days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Measurable residual disease </a:t>
              </a:r>
              <a:r>
                <a:rPr kumimoji="0" lang="en-US" sz="1600" b="0" i="0" u="sng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&gt;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10</a:t>
              </a:r>
              <a:r>
                <a:rPr kumimoji="0" lang="en-US" sz="1600" b="0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-4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(presence vs absence from registration sample)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497F545-546A-49AB-9E8A-C57E0D00C8B7}"/>
              </a:ext>
            </a:extLst>
          </p:cNvPr>
          <p:cNvGrpSpPr/>
          <p:nvPr/>
        </p:nvGrpSpPr>
        <p:grpSpPr>
          <a:xfrm>
            <a:off x="508028" y="4820960"/>
            <a:ext cx="1632178" cy="584775"/>
            <a:chOff x="508028" y="4820960"/>
            <a:chExt cx="1632178" cy="58477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E437561-417E-40E7-B78C-CC91A37D5FAE}"/>
                </a:ext>
              </a:extLst>
            </p:cNvPr>
            <p:cNvSpPr/>
            <p:nvPr/>
          </p:nvSpPr>
          <p:spPr>
            <a:xfrm>
              <a:off x="513534" y="4854476"/>
              <a:ext cx="1592438" cy="53786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162BF08-8405-484B-8630-C20F5B879AA7}"/>
                </a:ext>
              </a:extLst>
            </p:cNvPr>
            <p:cNvSpPr txBox="1"/>
            <p:nvPr/>
          </p:nvSpPr>
          <p:spPr>
            <a:xfrm>
              <a:off x="508028" y="4820960"/>
              <a:ext cx="163217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Gilteritinib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120 mg po daily</a:t>
              </a: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E3606F9B-10B5-4992-ABD3-06FA489EFDCD}"/>
              </a:ext>
            </a:extLst>
          </p:cNvPr>
          <p:cNvGrpSpPr/>
          <p:nvPr/>
        </p:nvGrpSpPr>
        <p:grpSpPr>
          <a:xfrm>
            <a:off x="493411" y="5793463"/>
            <a:ext cx="1598545" cy="835937"/>
            <a:chOff x="493411" y="5717263"/>
            <a:chExt cx="1598545" cy="83593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18FBE76-EBC5-46B8-A4C0-D09B999432DE}"/>
                </a:ext>
              </a:extLst>
            </p:cNvPr>
            <p:cNvSpPr/>
            <p:nvPr/>
          </p:nvSpPr>
          <p:spPr>
            <a:xfrm>
              <a:off x="609601" y="5717263"/>
              <a:ext cx="1371600" cy="830997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3CF75F8-9CBB-4085-B5E4-29EBD679DD48}"/>
                </a:ext>
              </a:extLst>
            </p:cNvPr>
            <p:cNvSpPr txBox="1"/>
            <p:nvPr/>
          </p:nvSpPr>
          <p:spPr>
            <a:xfrm>
              <a:off x="493411" y="5722203"/>
              <a:ext cx="15985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FFFF00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24 months maintenance treatment</a:t>
              </a:r>
            </a:p>
          </p:txBody>
        </p:sp>
      </p:grp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FEB4C142-6A96-4585-A2A1-E9DFE74E78CA}"/>
              </a:ext>
            </a:extLst>
          </p:cNvPr>
          <p:cNvCxnSpPr>
            <a:cxnSpLocks/>
          </p:cNvCxnSpPr>
          <p:nvPr/>
        </p:nvCxnSpPr>
        <p:spPr>
          <a:xfrm>
            <a:off x="6858000" y="2223195"/>
            <a:ext cx="1021719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082D90EF-F030-4572-8775-C3199428F2B4}"/>
              </a:ext>
            </a:extLst>
          </p:cNvPr>
          <p:cNvCxnSpPr>
            <a:cxnSpLocks/>
          </p:cNvCxnSpPr>
          <p:nvPr/>
        </p:nvCxnSpPr>
        <p:spPr>
          <a:xfrm flipH="1">
            <a:off x="2286000" y="5105400"/>
            <a:ext cx="27432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0309A21B-F7B4-4F96-BDA9-81789D4B6C27}"/>
              </a:ext>
            </a:extLst>
          </p:cNvPr>
          <p:cNvCxnSpPr/>
          <p:nvPr/>
        </p:nvCxnSpPr>
        <p:spPr>
          <a:xfrm>
            <a:off x="6096000" y="5257800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8C0CAF1-6BAA-458B-9FAA-B7DE92BBE103}"/>
              </a:ext>
            </a:extLst>
          </p:cNvPr>
          <p:cNvCxnSpPr/>
          <p:nvPr/>
        </p:nvCxnSpPr>
        <p:spPr>
          <a:xfrm>
            <a:off x="6096000" y="4648200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>
            <a:extLst>
              <a:ext uri="{FF2B5EF4-FFF2-40B4-BE49-F238E27FC236}">
                <a16:creationId xmlns:a16="http://schemas.microsoft.com/office/drawing/2014/main" id="{6F8B42DF-9261-4B75-972A-E8C09EE84672}"/>
              </a:ext>
            </a:extLst>
          </p:cNvPr>
          <p:cNvCxnSpPr/>
          <p:nvPr/>
        </p:nvCxnSpPr>
        <p:spPr>
          <a:xfrm>
            <a:off x="6096000" y="3352800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1E9BA0F6-1C24-4065-9B33-2283F93B961A}"/>
              </a:ext>
            </a:extLst>
          </p:cNvPr>
          <p:cNvCxnSpPr/>
          <p:nvPr/>
        </p:nvCxnSpPr>
        <p:spPr>
          <a:xfrm>
            <a:off x="6096000" y="2438400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>
            <a:extLst>
              <a:ext uri="{FF2B5EF4-FFF2-40B4-BE49-F238E27FC236}">
                <a16:creationId xmlns:a16="http://schemas.microsoft.com/office/drawing/2014/main" id="{B451C3E9-4291-4DA7-A247-CC9A62F3ED66}"/>
              </a:ext>
            </a:extLst>
          </p:cNvPr>
          <p:cNvCxnSpPr>
            <a:cxnSpLocks/>
          </p:cNvCxnSpPr>
          <p:nvPr/>
        </p:nvCxnSpPr>
        <p:spPr>
          <a:xfrm>
            <a:off x="6096000" y="1636030"/>
            <a:ext cx="0" cy="308749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Arrow Connector 64">
            <a:extLst>
              <a:ext uri="{FF2B5EF4-FFF2-40B4-BE49-F238E27FC236}">
                <a16:creationId xmlns:a16="http://schemas.microsoft.com/office/drawing/2014/main" id="{9403EA48-148C-46D4-AC4C-3330AC486C05}"/>
              </a:ext>
            </a:extLst>
          </p:cNvPr>
          <p:cNvCxnSpPr>
            <a:cxnSpLocks/>
          </p:cNvCxnSpPr>
          <p:nvPr/>
        </p:nvCxnSpPr>
        <p:spPr>
          <a:xfrm>
            <a:off x="7162800" y="5105400"/>
            <a:ext cx="266700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Arrow Connector 66">
            <a:extLst>
              <a:ext uri="{FF2B5EF4-FFF2-40B4-BE49-F238E27FC236}">
                <a16:creationId xmlns:a16="http://schemas.microsoft.com/office/drawing/2014/main" id="{A12B6265-ABA3-47E4-BA5A-F63EB49AA662}"/>
              </a:ext>
            </a:extLst>
          </p:cNvPr>
          <p:cNvCxnSpPr/>
          <p:nvPr/>
        </p:nvCxnSpPr>
        <p:spPr>
          <a:xfrm>
            <a:off x="1295400" y="5477977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5877072-430A-4919-91A3-6C569AB4EA34}"/>
              </a:ext>
            </a:extLst>
          </p:cNvPr>
          <p:cNvGrpSpPr/>
          <p:nvPr/>
        </p:nvGrpSpPr>
        <p:grpSpPr>
          <a:xfrm>
            <a:off x="10439400" y="3795927"/>
            <a:ext cx="1579257" cy="699873"/>
            <a:chOff x="9822222" y="828241"/>
            <a:chExt cx="1579257" cy="699873"/>
          </a:xfrm>
        </p:grpSpPr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10DB6EF6-0ECD-4DED-B258-917D653BA05F}"/>
                </a:ext>
              </a:extLst>
            </p:cNvPr>
            <p:cNvSpPr/>
            <p:nvPr/>
          </p:nvSpPr>
          <p:spPr>
            <a:xfrm>
              <a:off x="9822222" y="828241"/>
              <a:ext cx="1579257" cy="699873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D405ADA2-39AC-4C0D-9593-4933E878EF85}"/>
                </a:ext>
              </a:extLst>
            </p:cNvPr>
            <p:cNvSpPr txBox="1"/>
            <p:nvPr/>
          </p:nvSpPr>
          <p:spPr>
            <a:xfrm>
              <a:off x="9906000" y="885791"/>
              <a:ext cx="146613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mple for </a:t>
              </a: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highlight>
                    <a:srgbClr val="00FFFF"/>
                  </a:highlight>
                  <a:uLnTx/>
                  <a:uFillTx/>
                  <a:latin typeface="Arial" panose="020B0604020202020204"/>
                  <a:ea typeface="+mn-ea"/>
                  <a:cs typeface="+mn-cs"/>
                </a:rPr>
                <a:t>MRD analysis</a:t>
              </a:r>
            </a:p>
          </p:txBody>
        </p:sp>
      </p:grp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2320C8D7-09C5-4C22-9025-D92EC945A78F}"/>
              </a:ext>
            </a:extLst>
          </p:cNvPr>
          <p:cNvCxnSpPr>
            <a:cxnSpLocks/>
          </p:cNvCxnSpPr>
          <p:nvPr/>
        </p:nvCxnSpPr>
        <p:spPr>
          <a:xfrm>
            <a:off x="9829800" y="4114800"/>
            <a:ext cx="512456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4" name="Group 73">
            <a:extLst>
              <a:ext uri="{FF2B5EF4-FFF2-40B4-BE49-F238E27FC236}">
                <a16:creationId xmlns:a16="http://schemas.microsoft.com/office/drawing/2014/main" id="{27F075E1-151F-47B0-A32D-732CF4A79B30}"/>
              </a:ext>
            </a:extLst>
          </p:cNvPr>
          <p:cNvGrpSpPr/>
          <p:nvPr/>
        </p:nvGrpSpPr>
        <p:grpSpPr>
          <a:xfrm>
            <a:off x="10078523" y="4854476"/>
            <a:ext cx="1592438" cy="537865"/>
            <a:chOff x="513534" y="4854476"/>
            <a:chExt cx="1592438" cy="537865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F18BBC8-6A6D-4D45-8B39-E63732ADD44E}"/>
                </a:ext>
              </a:extLst>
            </p:cNvPr>
            <p:cNvSpPr/>
            <p:nvPr/>
          </p:nvSpPr>
          <p:spPr>
            <a:xfrm>
              <a:off x="513534" y="4854476"/>
              <a:ext cx="1592438" cy="537865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2F0190D0-C8B1-48B9-B000-3A208BE78A2E}"/>
                </a:ext>
              </a:extLst>
            </p:cNvPr>
            <p:cNvSpPr txBox="1"/>
            <p:nvPr/>
          </p:nvSpPr>
          <p:spPr>
            <a:xfrm>
              <a:off x="862292" y="4919246"/>
              <a:ext cx="92365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lacebo</a:t>
              </a: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E4571F5-D408-4891-B335-3E464EC4225E}"/>
              </a:ext>
            </a:extLst>
          </p:cNvPr>
          <p:cNvGrpSpPr/>
          <p:nvPr/>
        </p:nvGrpSpPr>
        <p:grpSpPr>
          <a:xfrm>
            <a:off x="10058400" y="5793463"/>
            <a:ext cx="1598545" cy="835937"/>
            <a:chOff x="493411" y="5717263"/>
            <a:chExt cx="1598545" cy="835937"/>
          </a:xfrm>
        </p:grpSpPr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7B547672-231C-4101-8FC6-68E221A00D2B}"/>
                </a:ext>
              </a:extLst>
            </p:cNvPr>
            <p:cNvSpPr/>
            <p:nvPr/>
          </p:nvSpPr>
          <p:spPr>
            <a:xfrm>
              <a:off x="609601" y="5717263"/>
              <a:ext cx="1371600" cy="830997"/>
            </a:xfrm>
            <a:prstGeom prst="rect">
              <a:avLst/>
            </a:prstGeom>
            <a:noFill/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FC9FEED6-3373-4B5F-B83C-5E6A7645E7AF}"/>
                </a:ext>
              </a:extLst>
            </p:cNvPr>
            <p:cNvSpPr txBox="1"/>
            <p:nvPr/>
          </p:nvSpPr>
          <p:spPr>
            <a:xfrm>
              <a:off x="493411" y="5722203"/>
              <a:ext cx="159854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4 months maintenance treatment</a:t>
              </a:r>
            </a:p>
          </p:txBody>
        </p:sp>
      </p:grp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E754D93A-3962-48C5-80C2-68157BF6D4D9}"/>
              </a:ext>
            </a:extLst>
          </p:cNvPr>
          <p:cNvCxnSpPr/>
          <p:nvPr/>
        </p:nvCxnSpPr>
        <p:spPr>
          <a:xfrm>
            <a:off x="10860389" y="5477977"/>
            <a:ext cx="0" cy="228600"/>
          </a:xfrm>
          <a:prstGeom prst="straightConnector1">
            <a:avLst/>
          </a:prstGeom>
          <a:ln w="381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2400EF99-E9A6-E116-6BAE-1FE732CFEBEB}"/>
              </a:ext>
            </a:extLst>
          </p:cNvPr>
          <p:cNvSpPr txBox="1"/>
          <p:nvPr/>
        </p:nvSpPr>
        <p:spPr>
          <a:xfrm>
            <a:off x="77619" y="1401159"/>
            <a:ext cx="3121404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CR-NGS MRD Assay (MRD6)</a:t>
            </a: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irst 2cc aspirate sent for MRD</a:t>
            </a:r>
          </a:p>
          <a:p>
            <a:pPr marL="285750" marR="0" lvl="0" indent="-28575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highlight>
                  <a:srgbClr val="00FFFF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46% + 4.5% = 50.5% FLT3-ITD MRD+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8C6786A-0F2F-7149-3DE9-A0B895D7FEA3}"/>
              </a:ext>
            </a:extLst>
          </p:cNvPr>
          <p:cNvSpPr txBox="1">
            <a:spLocks/>
          </p:cNvSpPr>
          <p:nvPr/>
        </p:nvSpPr>
        <p:spPr>
          <a:xfrm>
            <a:off x="719668" y="132515"/>
            <a:ext cx="10752667" cy="828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MORPHO Study Design: GILT post HSCT maintenanc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2377F8D-151A-7CB1-CDAB-BAEB078274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2544" y="793736"/>
            <a:ext cx="2641837" cy="130490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A8F329B-834C-120C-990A-B6B1B0B92B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26968" y="2766539"/>
            <a:ext cx="2188147" cy="113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167020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17352" y="46926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Post-Hoc MRD Analysis of MORPHO Study: FLT3i post SCT improves RFS in MRD+ patients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DE853D-A57B-C19D-DD31-0687F1B8EC48}"/>
              </a:ext>
            </a:extLst>
          </p:cNvPr>
          <p:cNvSpPr txBox="1"/>
          <p:nvPr/>
        </p:nvSpPr>
        <p:spPr>
          <a:xfrm>
            <a:off x="372933" y="6278078"/>
            <a:ext cx="2517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is M ASH #973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9E5277-D5C1-F629-95F2-E7CF8869A648}"/>
              </a:ext>
            </a:extLst>
          </p:cNvPr>
          <p:cNvSpPr txBox="1"/>
          <p:nvPr/>
        </p:nvSpPr>
        <p:spPr>
          <a:xfrm>
            <a:off x="1524133" y="1355972"/>
            <a:ext cx="30316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objective: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lapse-free survival (RFS)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R = 0.679 (0.459-1.005)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= 0.0518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A524CD5-FA39-8BDC-2955-8365DD64D4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933" y="2514600"/>
            <a:ext cx="5334000" cy="353715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DF941D-A9EA-9491-4486-9FB6CE22E3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02600" y="1107558"/>
            <a:ext cx="4354924" cy="289748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47CB03F7-D1D7-A33A-4EA8-641D5367357C}"/>
              </a:ext>
            </a:extLst>
          </p:cNvPr>
          <p:cNvSpPr txBox="1"/>
          <p:nvPr/>
        </p:nvSpPr>
        <p:spPr>
          <a:xfrm>
            <a:off x="10117857" y="1540637"/>
            <a:ext cx="196221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FS: MRD positive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either pre or post SCT)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4701249-90DA-3451-50FC-5C5EFC82CA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59924" y="4005044"/>
            <a:ext cx="4295641" cy="285295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C771981-9415-159F-06D0-A2C64D13637A}"/>
              </a:ext>
            </a:extLst>
          </p:cNvPr>
          <p:cNvSpPr txBox="1"/>
          <p:nvPr/>
        </p:nvSpPr>
        <p:spPr>
          <a:xfrm>
            <a:off x="10049789" y="4694188"/>
            <a:ext cx="193476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FS: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RD negative</a:t>
            </a:r>
          </a:p>
        </p:txBody>
      </p:sp>
    </p:spTree>
    <p:extLst>
      <p:ext uri="{BB962C8B-B14F-4D97-AF65-F5344CB8AC3E}">
        <p14:creationId xmlns:p14="http://schemas.microsoft.com/office/powerpoint/2010/main" val="1320169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A27E0BE9-D97F-4BAA-9617-002CD9756A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9376" y="3962400"/>
            <a:ext cx="4410075" cy="267719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869FF7E-9AF9-43F0-A9EF-FF97B12A85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7365" y="1197161"/>
            <a:ext cx="3962476" cy="273550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495D330-85E7-4A42-8482-250D4DBC3B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657" y="1193491"/>
            <a:ext cx="4038158" cy="27355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802844-61EA-4A59-AC28-38059AFC3FA2}"/>
              </a:ext>
            </a:extLst>
          </p:cNvPr>
          <p:cNvSpPr txBox="1"/>
          <p:nvPr/>
        </p:nvSpPr>
        <p:spPr>
          <a:xfrm>
            <a:off x="3973029" y="1455035"/>
            <a:ext cx="12859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MRD   14/8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5DB8207-F39B-4506-A819-AD1DB7CA8E09}"/>
              </a:ext>
            </a:extLst>
          </p:cNvPr>
          <p:cNvSpPr txBox="1"/>
          <p:nvPr/>
        </p:nvSpPr>
        <p:spPr>
          <a:xfrm>
            <a:off x="2850036" y="2514600"/>
            <a:ext cx="10182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ceb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8E099C5-8604-49AA-B3FC-03028846AA90}"/>
              </a:ext>
            </a:extLst>
          </p:cNvPr>
          <p:cNvSpPr txBox="1"/>
          <p:nvPr/>
        </p:nvSpPr>
        <p:spPr>
          <a:xfrm>
            <a:off x="3887616" y="1078857"/>
            <a:ext cx="710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401DED2-7F12-48BC-89DE-EC4A4E667075}"/>
              </a:ext>
            </a:extLst>
          </p:cNvPr>
          <p:cNvSpPr txBox="1"/>
          <p:nvPr/>
        </p:nvSpPr>
        <p:spPr>
          <a:xfrm>
            <a:off x="3990884" y="1898649"/>
            <a:ext cx="17414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D5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4/32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BB4D99C-298D-4E5C-9109-C487CF44A05A}"/>
              </a:ext>
            </a:extLst>
          </p:cNvPr>
          <p:cNvSpPr txBox="1"/>
          <p:nvPr/>
        </p:nvSpPr>
        <p:spPr>
          <a:xfrm>
            <a:off x="3990884" y="1664816"/>
            <a:ext cx="1629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D6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/19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61A1D26-90D8-40B5-9F41-41D612386337}"/>
              </a:ext>
            </a:extLst>
          </p:cNvPr>
          <p:cNvSpPr txBox="1"/>
          <p:nvPr/>
        </p:nvSpPr>
        <p:spPr>
          <a:xfrm>
            <a:off x="3979973" y="2180165"/>
            <a:ext cx="18536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RD4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/37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F994B3FC-ACF4-4661-8CFB-BD26848E5B85}"/>
              </a:ext>
            </a:extLst>
          </p:cNvPr>
          <p:cNvGrpSpPr/>
          <p:nvPr/>
        </p:nvGrpSpPr>
        <p:grpSpPr>
          <a:xfrm>
            <a:off x="5122705" y="2547417"/>
            <a:ext cx="1219200" cy="1216288"/>
            <a:chOff x="9753600" y="5260712"/>
            <a:chExt cx="1219200" cy="1216288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30A5C0F0-3567-458E-B4BD-269390829A20}"/>
                </a:ext>
              </a:extLst>
            </p:cNvPr>
            <p:cNvCxnSpPr/>
            <p:nvPr/>
          </p:nvCxnSpPr>
          <p:spPr>
            <a:xfrm>
              <a:off x="9753600" y="5260712"/>
              <a:ext cx="1219200" cy="0"/>
            </a:xfrm>
            <a:prstGeom prst="line">
              <a:avLst/>
            </a:prstGeom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D9EEC096-2DE7-42C5-A761-ADB587027D29}"/>
                </a:ext>
              </a:extLst>
            </p:cNvPr>
            <p:cNvCxnSpPr/>
            <p:nvPr/>
          </p:nvCxnSpPr>
          <p:spPr>
            <a:xfrm>
              <a:off x="10363200" y="5260712"/>
              <a:ext cx="0" cy="1216288"/>
            </a:xfrm>
            <a:prstGeom prst="straightConnector1">
              <a:avLst/>
            </a:prstGeom>
            <a:ln w="381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2DE4C587-5F3C-4B28-859D-D384838CF87E}"/>
              </a:ext>
            </a:extLst>
          </p:cNvPr>
          <p:cNvSpPr txBox="1"/>
          <p:nvPr/>
        </p:nvSpPr>
        <p:spPr>
          <a:xfrm>
            <a:off x="4648855" y="1169779"/>
            <a:ext cx="9124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ents/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A2DF343-596F-4A39-A235-2A21FED970D2}"/>
              </a:ext>
            </a:extLst>
          </p:cNvPr>
          <p:cNvGrpSpPr/>
          <p:nvPr/>
        </p:nvGrpSpPr>
        <p:grpSpPr>
          <a:xfrm>
            <a:off x="8638958" y="1095426"/>
            <a:ext cx="3403514" cy="1834674"/>
            <a:chOff x="8638958" y="1019224"/>
            <a:chExt cx="3403514" cy="1834674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C03D395-D99F-42E8-88F7-F8B812F6C727}"/>
                </a:ext>
              </a:extLst>
            </p:cNvPr>
            <p:cNvGrpSpPr/>
            <p:nvPr/>
          </p:nvGrpSpPr>
          <p:grpSpPr>
            <a:xfrm>
              <a:off x="8638958" y="1019224"/>
              <a:ext cx="3403514" cy="1834674"/>
              <a:chOff x="8229600" y="1049258"/>
              <a:chExt cx="3453106" cy="1834674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530FE042-70BB-4571-9E83-247E5A3FE59C}"/>
                  </a:ext>
                </a:extLst>
              </p:cNvPr>
              <p:cNvSpPr txBox="1"/>
              <p:nvPr/>
            </p:nvSpPr>
            <p:spPr>
              <a:xfrm>
                <a:off x="9980672" y="1503110"/>
                <a:ext cx="1702034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 MRD   18/85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38F06039-7D62-43E6-B30A-C8187634F94F}"/>
                  </a:ext>
                </a:extLst>
              </p:cNvPr>
              <p:cNvSpPr txBox="1"/>
              <p:nvPr/>
            </p:nvSpPr>
            <p:spPr>
              <a:xfrm>
                <a:off x="8229600" y="2514600"/>
                <a:ext cx="121058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ilteritinib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E553DA73-4E92-40FF-8B6E-7D72585316AF}"/>
                  </a:ext>
                </a:extLst>
              </p:cNvPr>
              <p:cNvSpPr txBox="1"/>
              <p:nvPr/>
            </p:nvSpPr>
            <p:spPr>
              <a:xfrm>
                <a:off x="9940578" y="1049258"/>
                <a:ext cx="66062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RD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B04A89F-1649-438B-B68B-AF441E9E8786}"/>
                  </a:ext>
                </a:extLst>
              </p:cNvPr>
              <p:cNvSpPr txBox="1"/>
              <p:nvPr/>
            </p:nvSpPr>
            <p:spPr>
              <a:xfrm>
                <a:off x="9969603" y="1702741"/>
                <a:ext cx="134835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RD5        8/31</a:t>
                </a:r>
                <a:endPara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71546017-C830-4CF6-9B41-CD99F01CFA90}"/>
                  </a:ext>
                </a:extLst>
              </p:cNvPr>
              <p:cNvSpPr txBox="1"/>
              <p:nvPr/>
            </p:nvSpPr>
            <p:spPr>
              <a:xfrm>
                <a:off x="9980672" y="1325053"/>
                <a:ext cx="1421369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RD6        2/14</a:t>
                </a:r>
                <a:endParaRPr kumimoji="0" lang="en-US" sz="11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3392BAA-3AD3-400E-907E-0FDEE97767CB}"/>
                  </a:ext>
                </a:extLst>
              </p:cNvPr>
              <p:cNvSpPr txBox="1"/>
              <p:nvPr/>
            </p:nvSpPr>
            <p:spPr>
              <a:xfrm>
                <a:off x="9980673" y="1921169"/>
                <a:ext cx="1348355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RD4        16/41</a:t>
                </a:r>
                <a:endParaRPr kumimoji="0" lang="en-US" sz="1050" b="0" i="0" u="none" strike="noStrike" kern="1200" cap="none" spc="0" normalizeH="0" baseline="3000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BBB2DA86-DEC1-42B6-B913-57803DB81896}"/>
                </a:ext>
              </a:extLst>
            </p:cNvPr>
            <p:cNvSpPr txBox="1"/>
            <p:nvPr/>
          </p:nvSpPr>
          <p:spPr>
            <a:xfrm>
              <a:off x="10991727" y="1052343"/>
              <a:ext cx="80823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vents/N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6622A368-7B91-47DD-A6FD-35BB5AFE94B6}"/>
              </a:ext>
            </a:extLst>
          </p:cNvPr>
          <p:cNvSpPr txBox="1"/>
          <p:nvPr/>
        </p:nvSpPr>
        <p:spPr>
          <a:xfrm>
            <a:off x="9147585" y="4535979"/>
            <a:ext cx="19239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6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≤ MRD6 &lt; 10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D8ECBA7-303B-49E3-A977-7A25F77A8FC6}"/>
              </a:ext>
            </a:extLst>
          </p:cNvPr>
          <p:cNvSpPr txBox="1"/>
          <p:nvPr/>
        </p:nvSpPr>
        <p:spPr>
          <a:xfrm>
            <a:off x="9147585" y="4895637"/>
            <a:ext cx="192392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≤ MRD5 &lt; 10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28E60C1-A027-4473-8894-7EEC6CEAA115}"/>
              </a:ext>
            </a:extLst>
          </p:cNvPr>
          <p:cNvSpPr txBox="1"/>
          <p:nvPr/>
        </p:nvSpPr>
        <p:spPr>
          <a:xfrm>
            <a:off x="9147585" y="5255295"/>
            <a:ext cx="1340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0</a:t>
            </a:r>
            <a:r>
              <a: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34E7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≤ MRD4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134E7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6B7213F-F416-ED7F-2C53-5B0EE68CFAB9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FLT3 MRD at any level impacts RFS, and is improved with GIL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D26266-40FE-ECBC-ABFB-3D5CACF5E529}"/>
              </a:ext>
            </a:extLst>
          </p:cNvPr>
          <p:cNvSpPr txBox="1"/>
          <p:nvPr/>
        </p:nvSpPr>
        <p:spPr>
          <a:xfrm>
            <a:off x="372933" y="6278078"/>
            <a:ext cx="25172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vis M ASH #973</a:t>
            </a:r>
          </a:p>
        </p:txBody>
      </p:sp>
    </p:spTree>
    <p:extLst>
      <p:ext uri="{BB962C8B-B14F-4D97-AF65-F5344CB8AC3E}">
        <p14:creationId xmlns:p14="http://schemas.microsoft.com/office/powerpoint/2010/main" val="248137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B7213F-F416-ED7F-2C53-5B0EE68CFAB9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FLT3-ITD MRD eradication post-SCT is improved with GILT</a:t>
            </a:r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D6E9C17C-4133-4700-5B2D-CFA80E74953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07503" y="1210090"/>
          <a:ext cx="5319443" cy="36236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2" imgW="3600997" imgH="2453009" progId="Prism10.Document">
                  <p:embed/>
                </p:oleObj>
              </mc:Choice>
              <mc:Fallback>
                <p:oleObj name="Prism 10" r:id="rId2" imgW="3600997" imgH="2453009" progId="Prism10.Document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D6E9C17C-4133-4700-5B2D-CFA80E7495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607503" y="1210090"/>
                        <a:ext cx="5319443" cy="36236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81609D7-BEF2-78C3-7E54-742EF6B28BF1}"/>
              </a:ext>
            </a:extLst>
          </p:cNvPr>
          <p:cNvSpPr txBox="1"/>
          <p:nvPr/>
        </p:nvSpPr>
        <p:spPr>
          <a:xfrm rot="16200000">
            <a:off x="2217674" y="2852659"/>
            <a:ext cx="24411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MRD Eradic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74177B-7102-ADD4-DC29-B95D8D64CDF4}"/>
              </a:ext>
            </a:extLst>
          </p:cNvPr>
          <p:cNvSpPr txBox="1"/>
          <p:nvPr/>
        </p:nvSpPr>
        <p:spPr>
          <a:xfrm>
            <a:off x="5757348" y="4685958"/>
            <a:ext cx="142876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andomiz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8DEF4B-1C88-18C7-A29A-90CFBA06DDAC}"/>
              </a:ext>
            </a:extLst>
          </p:cNvPr>
          <p:cNvSpPr txBox="1"/>
          <p:nvPr/>
        </p:nvSpPr>
        <p:spPr>
          <a:xfrm>
            <a:off x="575514" y="4947568"/>
            <a:ext cx="11040971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T3-ITD clones post-SCT are more often eradicated with GILT compared to placebo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RD was eradicated in 69% of pts on GILT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s 44% with placebo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lapse or eradication predominantly occur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uring the first 6 months post-SCT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Any level of FLT3-ITD MRD impacts RFS (the higher the MRD the worse the RFS)</a:t>
            </a:r>
          </a:p>
        </p:txBody>
      </p:sp>
    </p:spTree>
    <p:extLst>
      <p:ext uri="{BB962C8B-B14F-4D97-AF65-F5344CB8AC3E}">
        <p14:creationId xmlns:p14="http://schemas.microsoft.com/office/powerpoint/2010/main" val="18296159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>
            <a:extLst>
              <a:ext uri="{FF2B5EF4-FFF2-40B4-BE49-F238E27FC236}">
                <a16:creationId xmlns:a16="http://schemas.microsoft.com/office/drawing/2014/main" id="{EF02FF5D-B6DA-C5B6-D4CD-489EC92DB8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3467" y="1288877"/>
            <a:ext cx="10905066" cy="42802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CFF4B875-C9F0-372A-5B68-8C83DE66457E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DMIRAL study: Additional evidence of benefit of post-HSCT GIL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4BBC3B9-8343-961C-4521-5F3BADA608DA}"/>
              </a:ext>
            </a:extLst>
          </p:cNvPr>
          <p:cNvSpPr txBox="1"/>
          <p:nvPr/>
        </p:nvSpPr>
        <p:spPr>
          <a:xfrm>
            <a:off x="7716033" y="6249123"/>
            <a:ext cx="42330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Perl AE et al, Transplant Cell </a:t>
            </a:r>
            <a:r>
              <a:rPr lang="en-US" dirty="0" err="1"/>
              <a:t>Ther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7873688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94035" y="132516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GILT as post-HSCT maintenance  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08A77DA8-C7A6-479C-651D-DC3C44B776AD}"/>
              </a:ext>
            </a:extLst>
          </p:cNvPr>
          <p:cNvSpPr txBox="1">
            <a:spLocks/>
          </p:cNvSpPr>
          <p:nvPr/>
        </p:nvSpPr>
        <p:spPr>
          <a:xfrm>
            <a:off x="524256" y="2066795"/>
            <a:ext cx="11161776" cy="399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Proxima Nova Rg" panose="02000506030000020004" pitchFamily="50" charset="0"/>
              <a:buChar char="-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dentification of FLT3 MTD </a:t>
            </a: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 any level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i-transplant impacts RFS, and is improved with </a:t>
            </a:r>
            <a:r>
              <a:rPr kumimoji="0" lang="en-GB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gilteritinib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post-HSCT maintenance (the higher the MRD level, the worse the RFS)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>
                <a:solidFill>
                  <a:srgbClr val="47484F"/>
                </a:solidFill>
                <a:latin typeface="+mn-lt"/>
              </a:rPr>
              <a:t>FLT3-ITD MRD eradication post-SCT is improved with GILT</a:t>
            </a:r>
            <a:endParaRPr kumimoji="0" lang="en-GB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+mn-lt"/>
                <a:ea typeface="+mn-ea"/>
                <a:cs typeface="Calibri" panose="020F0502020204030204" pitchFamily="34" charset="0"/>
              </a:rPr>
              <a:t>Relapse or eradication predominantly occurs during the first 6 months post-SCT</a:t>
            </a: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15835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6B7213F-F416-ED7F-2C53-5B0EE68CFAB9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Update of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HMA+VEN+IDHi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 for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IDH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j-ea"/>
                <a:cs typeface="+mj-cs"/>
              </a:rPr>
              <a:t> AM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7EFCF09-8CCD-70A1-4D90-956E36D4C9CD}"/>
              </a:ext>
            </a:extLst>
          </p:cNvPr>
          <p:cNvSpPr txBox="1"/>
          <p:nvPr/>
        </p:nvSpPr>
        <p:spPr>
          <a:xfrm>
            <a:off x="9634014" y="6293224"/>
            <a:ext cx="204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luri H ASH #96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F4479D-F6A1-530C-7E32-298DF9178D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6380" y="1238194"/>
            <a:ext cx="6553020" cy="17335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3C29B716-D495-28D2-BD20-1FD105A7E7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7350" y="3227419"/>
            <a:ext cx="5031080" cy="1530229"/>
          </a:xfrm>
          <a:prstGeom prst="rect">
            <a:avLst/>
          </a:prstGeom>
        </p:spPr>
      </p:pic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1D1D1942-579D-BDB9-10B5-B7879628FF2F}"/>
              </a:ext>
            </a:extLst>
          </p:cNvPr>
          <p:cNvGraphicFramePr>
            <a:graphicFrameLocks noGrp="1"/>
          </p:cNvGraphicFramePr>
          <p:nvPr/>
        </p:nvGraphicFramePr>
        <p:xfrm>
          <a:off x="6823936" y="1269402"/>
          <a:ext cx="5181683" cy="4916553"/>
        </p:xfrm>
        <a:graphic>
          <a:graphicData uri="http://schemas.openxmlformats.org/drawingml/2006/table">
            <a:tbl>
              <a:tblPr firstRow="1" firstCol="1" bandRow="1">
                <a:tableStyleId>{69CF1AB2-1976-4502-BF36-3FF5EA218861}</a:tableStyleId>
              </a:tblPr>
              <a:tblGrid>
                <a:gridCol w="1111706">
                  <a:extLst>
                    <a:ext uri="{9D8B030D-6E8A-4147-A177-3AD203B41FA5}">
                      <a16:colId xmlns:a16="http://schemas.microsoft.com/office/drawing/2014/main" val="1298675412"/>
                    </a:ext>
                  </a:extLst>
                </a:gridCol>
                <a:gridCol w="729057">
                  <a:extLst>
                    <a:ext uri="{9D8B030D-6E8A-4147-A177-3AD203B41FA5}">
                      <a16:colId xmlns:a16="http://schemas.microsoft.com/office/drawing/2014/main" val="1344690352"/>
                    </a:ext>
                  </a:extLst>
                </a:gridCol>
                <a:gridCol w="795938">
                  <a:extLst>
                    <a:ext uri="{9D8B030D-6E8A-4147-A177-3AD203B41FA5}">
                      <a16:colId xmlns:a16="http://schemas.microsoft.com/office/drawing/2014/main" val="4202565596"/>
                    </a:ext>
                  </a:extLst>
                </a:gridCol>
                <a:gridCol w="802340">
                  <a:extLst>
                    <a:ext uri="{9D8B030D-6E8A-4147-A177-3AD203B41FA5}">
                      <a16:colId xmlns:a16="http://schemas.microsoft.com/office/drawing/2014/main" val="388901125"/>
                    </a:ext>
                  </a:extLst>
                </a:gridCol>
                <a:gridCol w="919304">
                  <a:extLst>
                    <a:ext uri="{9D8B030D-6E8A-4147-A177-3AD203B41FA5}">
                      <a16:colId xmlns:a16="http://schemas.microsoft.com/office/drawing/2014/main" val="289692239"/>
                    </a:ext>
                  </a:extLst>
                </a:gridCol>
                <a:gridCol w="823338">
                  <a:extLst>
                    <a:ext uri="{9D8B030D-6E8A-4147-A177-3AD203B41FA5}">
                      <a16:colId xmlns:a16="http://schemas.microsoft.com/office/drawing/2014/main" val="1418859924"/>
                    </a:ext>
                  </a:extLst>
                </a:gridCol>
              </a:tblGrid>
              <a:tr h="342159">
                <a:tc gridSpan="6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eline Characteristics</a:t>
                      </a:r>
                      <a:endParaRPr lang="en-US" sz="18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35126015"/>
                  </a:ext>
                </a:extLst>
              </a:tr>
              <a:tr h="410940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riable</a:t>
                      </a:r>
                      <a:endParaRPr lang="en-US" sz="14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</a:t>
                      </a:r>
                      <a:endParaRPr lang="en-US" sz="14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57)</a:t>
                      </a:r>
                      <a:endParaRPr lang="en-US" sz="14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 gridSpan="2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wly Diagnosed</a:t>
                      </a:r>
                      <a:endParaRPr lang="en-US" sz="14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27)</a:t>
                      </a:r>
                      <a:endParaRPr lang="en-US" sz="14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lapsed Refractory</a:t>
                      </a:r>
                      <a:endParaRPr lang="en-US" sz="14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30)</a:t>
                      </a:r>
                      <a:endParaRPr lang="en-US" sz="14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1967470"/>
                  </a:ext>
                </a:extLst>
              </a:tr>
              <a:tr h="410940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H1</a:t>
                      </a:r>
                      <a:endParaRPr lang="en-US" sz="12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1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H2</a:t>
                      </a:r>
                      <a:endParaRPr lang="en-US" sz="12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6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H1</a:t>
                      </a:r>
                      <a:endParaRPr lang="en-US" sz="12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1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H2</a:t>
                      </a:r>
                      <a:endParaRPr lang="en-US" sz="1200" b="1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9)</a:t>
                      </a:r>
                      <a:endParaRPr lang="en-US" sz="2400" b="1" dirty="0">
                        <a:solidFill>
                          <a:srgbClr val="232C3D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1270610614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 (years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2 (41-86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4 (70-80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1 (62-83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3 (41-86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0 (56-84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2407253456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le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5 (61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(36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 (7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(7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 (58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1549463474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COG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-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-2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-2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-2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(1-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1699080571"/>
                  </a:ext>
                </a:extLst>
              </a:tr>
              <a:tr h="215108">
                <a:tc gridSpan="6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N Risk (202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 hMerge="1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7911610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N Favorable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(12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27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3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9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796" marR="4796" marT="4796" marB="0" anchor="ctr"/>
                </a:tc>
                <a:extLst>
                  <a:ext uri="{0D108BD9-81ED-4DB2-BD59-A6C34878D82A}">
                    <a16:rowId xmlns:a16="http://schemas.microsoft.com/office/drawing/2014/main" val="3258651131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N Intermediate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4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6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0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11816450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N Adverse 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7 (8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(72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 (81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(91)</a:t>
                      </a:r>
                      <a:endParaRPr lang="en-US" sz="1200" b="1" i="0" u="none" strike="noStrike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kern="100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16 (8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599423077"/>
                  </a:ext>
                </a:extLst>
              </a:tr>
              <a:tr h="191784">
                <a:tc gridSpan="6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ytogenetic Risk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extLst>
                  <a:ext uri="{0D108BD9-81ED-4DB2-BD59-A6C34878D82A}">
                    <a16:rowId xmlns:a16="http://schemas.microsoft.com/office/drawing/2014/main" val="3656244047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mediate Risk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7 (6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(73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(88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(36) 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 (58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2270037960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dverse Risk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 (3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27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(64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(4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748985948"/>
                  </a:ext>
                </a:extLst>
              </a:tr>
              <a:tr h="191784">
                <a:tc gridSpan="6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-Occurring Mutations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tc hMerge="1"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398" marR="61398" marT="30699" marB="30699"/>
                </a:tc>
                <a:extLst>
                  <a:ext uri="{0D108BD9-81ED-4DB2-BD59-A6C34878D82A}">
                    <a16:rowId xmlns:a16="http://schemas.microsoft.com/office/drawing/2014/main" val="1271784611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PM1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(16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27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19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8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2870988580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RAS/NRAS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(14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9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19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9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971368269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T3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9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604167005"/>
                  </a:ext>
                </a:extLst>
              </a:tr>
              <a:tr h="235003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P53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 (21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12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(55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u="none" strike="noStrike" dirty="0"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(21)</a:t>
                      </a:r>
                      <a:endParaRPr lang="en-US" sz="1200" b="1" i="0" u="none" strike="noStrike" dirty="0"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1652787532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825CAD34-4B45-8679-E65A-C5B47836DF52}"/>
              </a:ext>
            </a:extLst>
          </p:cNvPr>
          <p:cNvGraphicFramePr>
            <a:graphicFrameLocks noGrp="1"/>
          </p:cNvGraphicFramePr>
          <p:nvPr/>
        </p:nvGraphicFramePr>
        <p:xfrm>
          <a:off x="2852057" y="4854691"/>
          <a:ext cx="3571047" cy="1530230"/>
        </p:xfrm>
        <a:graphic>
          <a:graphicData uri="http://schemas.openxmlformats.org/drawingml/2006/table">
            <a:tbl>
              <a:tblPr firstRow="1" firstCol="1" bandRow="1">
                <a:tableStyleId>{69CF1AB2-1976-4502-BF36-3FF5EA218861}</a:tableStyleId>
              </a:tblPr>
              <a:tblGrid>
                <a:gridCol w="1390845">
                  <a:extLst>
                    <a:ext uri="{9D8B030D-6E8A-4147-A177-3AD203B41FA5}">
                      <a16:colId xmlns:a16="http://schemas.microsoft.com/office/drawing/2014/main" val="815874901"/>
                    </a:ext>
                  </a:extLst>
                </a:gridCol>
                <a:gridCol w="1150131">
                  <a:extLst>
                    <a:ext uri="{9D8B030D-6E8A-4147-A177-3AD203B41FA5}">
                      <a16:colId xmlns:a16="http://schemas.microsoft.com/office/drawing/2014/main" val="2987745825"/>
                    </a:ext>
                  </a:extLst>
                </a:gridCol>
                <a:gridCol w="1030071">
                  <a:extLst>
                    <a:ext uri="{9D8B030D-6E8A-4147-A177-3AD203B41FA5}">
                      <a16:colId xmlns:a16="http://schemas.microsoft.com/office/drawing/2014/main" val="480606545"/>
                    </a:ext>
                  </a:extLst>
                </a:gridCol>
              </a:tblGrid>
              <a:tr h="218228">
                <a:tc gridSpan="3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Prior Treatments (R/R Only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 hMerge="1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tc hMerge="1"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23024" marR="23024" marT="6395" marB="0" anchor="ctr"/>
                </a:tc>
                <a:extLst>
                  <a:ext uri="{0D108BD9-81ED-4DB2-BD59-A6C34878D82A}">
                    <a16:rowId xmlns:a16="http://schemas.microsoft.com/office/drawing/2014/main" val="196643870"/>
                  </a:ext>
                </a:extLst>
              </a:tr>
              <a:tr h="386488"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IDH1</a:t>
                      </a:r>
                      <a:endParaRPr lang="en-US" sz="1000" b="1" u="none" strike="noStrike" dirty="0">
                        <a:solidFill>
                          <a:srgbClr val="232C3D"/>
                        </a:solidFill>
                        <a:effectLst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(n=11)</a:t>
                      </a:r>
                      <a:endParaRPr lang="en-US" sz="1000" b="1" dirty="0">
                        <a:solidFill>
                          <a:srgbClr val="232C3D"/>
                        </a:solidFill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IDH2</a:t>
                      </a:r>
                      <a:endParaRPr lang="en-US" sz="1000" b="1" u="none" strike="noStrike" dirty="0">
                        <a:solidFill>
                          <a:srgbClr val="232C3D"/>
                        </a:solidFill>
                        <a:effectLst/>
                      </a:endParaRPr>
                    </a:p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(n=19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extLst>
                  <a:ext uri="{0D108BD9-81ED-4DB2-BD59-A6C34878D82A}">
                    <a16:rowId xmlns:a16="http://schemas.microsoft.com/office/drawing/2014/main" val="2504249607"/>
                  </a:ext>
                </a:extLst>
              </a:tr>
              <a:tr h="234831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>
                          <a:solidFill>
                            <a:srgbClr val="232C3D"/>
                          </a:solidFill>
                          <a:effectLst/>
                        </a:rPr>
                        <a:t>Prior HMA + VEN</a:t>
                      </a:r>
                      <a:endParaRPr lang="en-US" sz="1000" b="1" i="0" u="none" strike="noStrike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6 (55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13 (68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557601439"/>
                  </a:ext>
                </a:extLst>
              </a:tr>
              <a:tr h="234831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>
                          <a:solidFill>
                            <a:srgbClr val="232C3D"/>
                          </a:solidFill>
                          <a:effectLst/>
                        </a:rPr>
                        <a:t>No Prior VEN</a:t>
                      </a:r>
                      <a:endParaRPr lang="en-US" sz="1000" b="1" i="0" u="none" strike="noStrike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3 (27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6 (32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1526731454"/>
                  </a:ext>
                </a:extLst>
              </a:tr>
              <a:tr h="234831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>
                          <a:solidFill>
                            <a:srgbClr val="232C3D"/>
                          </a:solidFill>
                          <a:effectLst/>
                        </a:rPr>
                        <a:t>Prior IDHi</a:t>
                      </a:r>
                      <a:endParaRPr lang="en-US" sz="1000" b="1" i="0" u="none" strike="noStrike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4 (36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3 (16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2626240125"/>
                  </a:ext>
                </a:extLst>
              </a:tr>
              <a:tr h="221021">
                <a:tc>
                  <a:txBody>
                    <a:bodyPr/>
                    <a:lstStyle/>
                    <a:p>
                      <a:pPr marL="0" marR="0"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HMA/VEN/IDHi naïve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7268" marR="17268" marT="4796" marB="0" anchor="ctr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1 (9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tc>
                  <a:txBody>
                    <a:bodyPr/>
                    <a:lstStyle/>
                    <a:p>
                      <a:pPr marL="0" marR="0" algn="ctr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u="none" strike="noStrike" kern="100" dirty="0">
                          <a:solidFill>
                            <a:srgbClr val="232C3D"/>
                          </a:solidFill>
                          <a:effectLst/>
                        </a:rPr>
                        <a:t>4 (21)</a:t>
                      </a:r>
                      <a:endParaRPr lang="en-US" sz="1000" b="1" i="0" u="none" strike="noStrike" dirty="0">
                        <a:solidFill>
                          <a:srgbClr val="232C3D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6049" marR="46049" marT="23024" marB="23024"/>
                </a:tc>
                <a:extLst>
                  <a:ext uri="{0D108BD9-81ED-4DB2-BD59-A6C34878D82A}">
                    <a16:rowId xmlns:a16="http://schemas.microsoft.com/office/drawing/2014/main" val="3005423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91920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AF0C1B9D-32E5-EA63-1F53-3969E66234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277" y="132515"/>
            <a:ext cx="12188757" cy="828675"/>
          </a:xfrm>
        </p:spPr>
        <p:txBody>
          <a:bodyPr/>
          <a:lstStyle/>
          <a:p>
            <a:r>
              <a:rPr lang="en-US" dirty="0">
                <a:latin typeface="Arial Narrow" panose="020B0606020202030204" pitchFamily="34" charset="0"/>
              </a:rPr>
              <a:t>Newly Dx IC-eligible </a:t>
            </a:r>
            <a:r>
              <a:rPr lang="en-US" u="sng" dirty="0">
                <a:latin typeface="Arial Narrow" panose="020B0606020202030204" pitchFamily="34" charset="0"/>
              </a:rPr>
              <a:t>FLT3-ITD</a:t>
            </a:r>
            <a:r>
              <a:rPr lang="en-US" dirty="0">
                <a:latin typeface="Arial Narrow" panose="020B0606020202030204" pitchFamily="34" charset="0"/>
              </a:rPr>
              <a:t> Mutated: </a:t>
            </a:r>
            <a:r>
              <a:rPr lang="en-US" dirty="0" err="1">
                <a:latin typeface="Arial Narrow" panose="020B0606020202030204" pitchFamily="34" charset="0"/>
              </a:rPr>
              <a:t>QuANTUM</a:t>
            </a:r>
            <a:r>
              <a:rPr lang="en-US" dirty="0">
                <a:latin typeface="Arial Narrow" panose="020B0606020202030204" pitchFamily="34" charset="0"/>
              </a:rPr>
              <a:t>-First Updates</a:t>
            </a:r>
          </a:p>
        </p:txBody>
      </p:sp>
      <p:pic>
        <p:nvPicPr>
          <p:cNvPr id="531" name="Picture 530">
            <a:extLst>
              <a:ext uri="{FF2B5EF4-FFF2-40B4-BE49-F238E27FC236}">
                <a16:creationId xmlns:a16="http://schemas.microsoft.com/office/drawing/2014/main" id="{0F6AFF25-8F40-485C-967D-620DD09E07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017985"/>
            <a:ext cx="12192000" cy="4415088"/>
          </a:xfrm>
          <a:prstGeom prst="rect">
            <a:avLst/>
          </a:prstGeom>
        </p:spPr>
      </p:pic>
      <p:sp>
        <p:nvSpPr>
          <p:cNvPr id="532" name="TextBox 531">
            <a:extLst>
              <a:ext uri="{FF2B5EF4-FFF2-40B4-BE49-F238E27FC236}">
                <a16:creationId xmlns:a16="http://schemas.microsoft.com/office/drawing/2014/main" id="{1C924B11-E902-8B96-2142-1346D6634D79}"/>
              </a:ext>
            </a:extLst>
          </p:cNvPr>
          <p:cNvSpPr txBox="1"/>
          <p:nvPr/>
        </p:nvSpPr>
        <p:spPr>
          <a:xfrm>
            <a:off x="304083" y="1258755"/>
            <a:ext cx="1136721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ckground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e addition of QUIZ to IC induction, Consolidation and Maintenance Improves O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C27E386-678E-9172-0EA9-3BCB9565425B}"/>
              </a:ext>
            </a:extLst>
          </p:cNvPr>
          <p:cNvSpPr txBox="1"/>
          <p:nvPr/>
        </p:nvSpPr>
        <p:spPr>
          <a:xfrm>
            <a:off x="304083" y="6314739"/>
            <a:ext cx="23423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rba H et al, Lancet 2023 </a:t>
            </a:r>
          </a:p>
        </p:txBody>
      </p:sp>
    </p:spTree>
    <p:extLst>
      <p:ext uri="{BB962C8B-B14F-4D97-AF65-F5344CB8AC3E}">
        <p14:creationId xmlns:p14="http://schemas.microsoft.com/office/powerpoint/2010/main" val="33787439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492A1302-94E3-F019-FA36-5710EF49043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93700" y="1143325"/>
            <a:ext cx="5228154" cy="421142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70B7B0AE-D5EB-21C2-738A-17DA1AE4D9AF}"/>
              </a:ext>
            </a:extLst>
          </p:cNvPr>
          <p:cNvSpPr/>
          <p:nvPr/>
        </p:nvSpPr>
        <p:spPr>
          <a:xfrm>
            <a:off x="139021" y="5387180"/>
            <a:ext cx="5368894" cy="109070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Overall CRc 96.2% with 85% flow MRD negative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No 30 or 60 day early mortality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67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F4D5813-C907-EFDE-417F-B2BF6BEF274B}"/>
              </a:ext>
            </a:extLst>
          </p:cNvPr>
          <p:cNvSpPr txBox="1"/>
          <p:nvPr/>
        </p:nvSpPr>
        <p:spPr>
          <a:xfrm>
            <a:off x="1000242" y="5109678"/>
            <a:ext cx="580608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=11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9F34274-9C75-67AF-63B9-12D9394FFC4A}"/>
              </a:ext>
            </a:extLst>
          </p:cNvPr>
          <p:cNvSpPr txBox="1"/>
          <p:nvPr/>
        </p:nvSpPr>
        <p:spPr>
          <a:xfrm>
            <a:off x="2761232" y="5121153"/>
            <a:ext cx="61908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=16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2FBDB45-FC01-28C6-3AFD-39867CF346F8}"/>
              </a:ext>
            </a:extLst>
          </p:cNvPr>
          <p:cNvSpPr txBox="1"/>
          <p:nvPr/>
        </p:nvSpPr>
        <p:spPr>
          <a:xfrm>
            <a:off x="1915905" y="5121153"/>
            <a:ext cx="684376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=9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68D77E-D57F-E1F0-D13A-F72D6C16695B}"/>
              </a:ext>
            </a:extLst>
          </p:cNvPr>
          <p:cNvSpPr txBox="1"/>
          <p:nvPr/>
        </p:nvSpPr>
        <p:spPr>
          <a:xfrm>
            <a:off x="3685357" y="5109678"/>
            <a:ext cx="61908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(n=14)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8750980-F3DE-047D-0E11-E474A28FF170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HMA+VEN+IDHi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for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ewly Dx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IDH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AML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FFC4527-5AFD-3CEA-B01E-E9A62B2DDC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9724" y="1608095"/>
            <a:ext cx="4451109" cy="324776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1894B055-F1C8-94DB-E0F0-068B9E97A273}"/>
              </a:ext>
            </a:extLst>
          </p:cNvPr>
          <p:cNvSpPr/>
          <p:nvPr/>
        </p:nvSpPr>
        <p:spPr>
          <a:xfrm>
            <a:off x="6910341" y="1293963"/>
            <a:ext cx="4774603" cy="3141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 Survival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6796A39A-0838-FF06-FAE0-DD31DB99587C}"/>
              </a:ext>
            </a:extLst>
          </p:cNvPr>
          <p:cNvGraphicFramePr>
            <a:graphicFrameLocks noGrp="1"/>
          </p:cNvGraphicFramePr>
          <p:nvPr/>
        </p:nvGraphicFramePr>
        <p:xfrm>
          <a:off x="7113839" y="4945727"/>
          <a:ext cx="4367605" cy="1541644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1421774">
                  <a:extLst>
                    <a:ext uri="{9D8B030D-6E8A-4147-A177-3AD203B41FA5}">
                      <a16:colId xmlns:a16="http://schemas.microsoft.com/office/drawing/2014/main" val="4229956256"/>
                    </a:ext>
                  </a:extLst>
                </a:gridCol>
                <a:gridCol w="1380858">
                  <a:extLst>
                    <a:ext uri="{9D8B030D-6E8A-4147-A177-3AD203B41FA5}">
                      <a16:colId xmlns:a16="http://schemas.microsoft.com/office/drawing/2014/main" val="1239650398"/>
                    </a:ext>
                  </a:extLst>
                </a:gridCol>
                <a:gridCol w="1564973">
                  <a:extLst>
                    <a:ext uri="{9D8B030D-6E8A-4147-A177-3AD203B41FA5}">
                      <a16:colId xmlns:a16="http://schemas.microsoft.com/office/drawing/2014/main" val="3925462311"/>
                    </a:ext>
                  </a:extLst>
                </a:gridCol>
              </a:tblGrid>
              <a:tr h="293751">
                <a:tc gridSpan="3"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D-AML</a:t>
                      </a:r>
                    </a:p>
                  </a:txBody>
                  <a:tcPr marL="68580" marR="68580" marT="34290" marB="3429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ND-AML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8284528"/>
                  </a:ext>
                </a:extLst>
              </a:tr>
              <a:tr h="535471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Outcome </a:t>
                      </a:r>
                    </a:p>
                    <a:p>
                      <a:pPr algn="ctr"/>
                      <a:r>
                        <a:rPr lang="en-US" sz="1400" b="1" dirty="0"/>
                        <a:t>(months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IDH1 </a:t>
                      </a:r>
                    </a:p>
                    <a:p>
                      <a:pPr algn="ctr"/>
                      <a:r>
                        <a:rPr lang="en-US" sz="1400" b="1" dirty="0"/>
                        <a:t>(n=11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IDH2 </a:t>
                      </a:r>
                    </a:p>
                    <a:p>
                      <a:pPr algn="ctr"/>
                      <a:r>
                        <a:rPr lang="en-US" sz="1400" b="1" dirty="0"/>
                        <a:t>(n=16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9408519"/>
                  </a:ext>
                </a:extLst>
              </a:tr>
              <a:tr h="430482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Median DOR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R (6.9-NR)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R (10.1-NR)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2084892985"/>
                  </a:ext>
                </a:extLst>
              </a:tr>
              <a:tr h="262529"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Median OS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R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R</a:t>
                      </a: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959826004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3A456F1-4281-1AE7-A7E2-D8C3D5AE7957}"/>
              </a:ext>
            </a:extLst>
          </p:cNvPr>
          <p:cNvSpPr txBox="1"/>
          <p:nvPr/>
        </p:nvSpPr>
        <p:spPr>
          <a:xfrm>
            <a:off x="139021" y="6487371"/>
            <a:ext cx="204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luri H ASH #968</a:t>
            </a:r>
          </a:p>
        </p:txBody>
      </p:sp>
    </p:spTree>
    <p:extLst>
      <p:ext uri="{BB962C8B-B14F-4D97-AF65-F5344CB8AC3E}">
        <p14:creationId xmlns:p14="http://schemas.microsoft.com/office/powerpoint/2010/main" val="12790696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F3A456F1-4281-1AE7-A7E2-D8C3D5AE7957}"/>
              </a:ext>
            </a:extLst>
          </p:cNvPr>
          <p:cNvSpPr txBox="1"/>
          <p:nvPr/>
        </p:nvSpPr>
        <p:spPr>
          <a:xfrm>
            <a:off x="117506" y="6362912"/>
            <a:ext cx="2044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luri H ASH #968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18750980-F3DE-047D-0E11-E474A28FF170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HMA+VEN+IDHi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for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/R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IDH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AM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94B055-F1C8-94DB-E0F0-068B9E97A273}"/>
              </a:ext>
            </a:extLst>
          </p:cNvPr>
          <p:cNvSpPr/>
          <p:nvPr/>
        </p:nvSpPr>
        <p:spPr>
          <a:xfrm>
            <a:off x="7049408" y="1151068"/>
            <a:ext cx="4774603" cy="3141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verall Surviva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E2DCDAF-846C-31AE-72FE-DF82886C52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9438" y="1151068"/>
            <a:ext cx="5124689" cy="3492376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D8B90D93-946F-7F7E-7113-9CC5DAF84746}"/>
              </a:ext>
            </a:extLst>
          </p:cNvPr>
          <p:cNvSpPr/>
          <p:nvPr/>
        </p:nvSpPr>
        <p:spPr>
          <a:xfrm>
            <a:off x="329438" y="4643444"/>
            <a:ext cx="6071362" cy="167467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Overall CRc 56.6% with 70.5% flow MRD neg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47.6% in pts with prior VEN (n=21) and 77.7% in VEN naïve (n=9)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78% flow MRD(-)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R/R but VEN naïve p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*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c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71% in those with prior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DH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(n=7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98A84FF-7599-7B1A-94BC-01804BFAF821}"/>
              </a:ext>
            </a:extLst>
          </p:cNvPr>
          <p:cNvSpPr txBox="1"/>
          <p:nvPr/>
        </p:nvSpPr>
        <p:spPr>
          <a:xfrm>
            <a:off x="1244859" y="4431458"/>
            <a:ext cx="48442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=11)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0AE89B3-E1FC-C9E0-86D5-B3B037D535AD}"/>
              </a:ext>
            </a:extLst>
          </p:cNvPr>
          <p:cNvSpPr txBox="1"/>
          <p:nvPr/>
        </p:nvSpPr>
        <p:spPr>
          <a:xfrm>
            <a:off x="2884291" y="4435145"/>
            <a:ext cx="48442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=19)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1F1ACAC-439A-A3A0-0E3B-C45935E52390}"/>
              </a:ext>
            </a:extLst>
          </p:cNvPr>
          <p:cNvSpPr txBox="1"/>
          <p:nvPr/>
        </p:nvSpPr>
        <p:spPr>
          <a:xfrm>
            <a:off x="3766961" y="4420855"/>
            <a:ext cx="4267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=6)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35BBCD-DDDB-6B31-9920-619FF545EF65}"/>
              </a:ext>
            </a:extLst>
          </p:cNvPr>
          <p:cNvSpPr txBox="1"/>
          <p:nvPr/>
        </p:nvSpPr>
        <p:spPr>
          <a:xfrm>
            <a:off x="2079795" y="4420855"/>
            <a:ext cx="42672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=6)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8C4A164D-B74B-5552-E515-23E8BCC997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3580" y="1465201"/>
            <a:ext cx="5128256" cy="2753566"/>
          </a:xfrm>
          <a:prstGeom prst="rect">
            <a:avLst/>
          </a:prstGeom>
        </p:spPr>
      </p:pic>
      <p:graphicFrame>
        <p:nvGraphicFramePr>
          <p:cNvPr id="22" name="Table 21">
            <a:extLst>
              <a:ext uri="{FF2B5EF4-FFF2-40B4-BE49-F238E27FC236}">
                <a16:creationId xmlns:a16="http://schemas.microsoft.com/office/drawing/2014/main" id="{97E5A7C2-BBDD-33E5-F850-CEAC8B53951D}"/>
              </a:ext>
            </a:extLst>
          </p:cNvPr>
          <p:cNvGraphicFramePr>
            <a:graphicFrameLocks noGrp="1"/>
          </p:cNvGraphicFramePr>
          <p:nvPr/>
        </p:nvGraphicFramePr>
        <p:xfrm>
          <a:off x="7616416" y="4266900"/>
          <a:ext cx="3856088" cy="1072196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1011115">
                  <a:extLst>
                    <a:ext uri="{9D8B030D-6E8A-4147-A177-3AD203B41FA5}">
                      <a16:colId xmlns:a16="http://schemas.microsoft.com/office/drawing/2014/main" val="1684974954"/>
                    </a:ext>
                  </a:extLst>
                </a:gridCol>
                <a:gridCol w="1320452">
                  <a:extLst>
                    <a:ext uri="{9D8B030D-6E8A-4147-A177-3AD203B41FA5}">
                      <a16:colId xmlns:a16="http://schemas.microsoft.com/office/drawing/2014/main" val="2625050731"/>
                    </a:ext>
                  </a:extLst>
                </a:gridCol>
                <a:gridCol w="1524521">
                  <a:extLst>
                    <a:ext uri="{9D8B030D-6E8A-4147-A177-3AD203B41FA5}">
                      <a16:colId xmlns:a16="http://schemas.microsoft.com/office/drawing/2014/main" val="2386790386"/>
                    </a:ext>
                  </a:extLst>
                </a:gridCol>
              </a:tblGrid>
              <a:tr h="198840">
                <a:tc gridSpan="3"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R/R-AML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R/R-AML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8860659"/>
                  </a:ext>
                </a:extLst>
              </a:tr>
              <a:tr h="335971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Outcome</a:t>
                      </a:r>
                    </a:p>
                    <a:p>
                      <a:pPr algn="ctr"/>
                      <a:r>
                        <a:rPr lang="en-US" sz="1000" b="1" dirty="0"/>
                        <a:t>(months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IDH1 </a:t>
                      </a:r>
                    </a:p>
                    <a:p>
                      <a:pPr algn="ctr"/>
                      <a:r>
                        <a:rPr lang="en-US" sz="1000" b="1" dirty="0"/>
                        <a:t>(n=11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IDH2</a:t>
                      </a:r>
                    </a:p>
                    <a:p>
                      <a:pPr algn="ctr"/>
                      <a:r>
                        <a:rPr lang="en-US" sz="1000" b="1" dirty="0"/>
                        <a:t>(n=19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5208064"/>
                  </a:ext>
                </a:extLst>
              </a:tr>
              <a:tr h="202504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Median D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3.8 (13.2-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6.1 (NR-NR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077032152"/>
                  </a:ext>
                </a:extLst>
              </a:tr>
              <a:tr h="256856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Median O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7.7 (4.47-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0.4 (8.78 – NR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681408250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04E99E05-9922-C05A-D3FB-6F36CAB2E92D}"/>
              </a:ext>
            </a:extLst>
          </p:cNvPr>
          <p:cNvGraphicFramePr>
            <a:graphicFrameLocks noGrp="1"/>
          </p:cNvGraphicFramePr>
          <p:nvPr/>
        </p:nvGraphicFramePr>
        <p:xfrm>
          <a:off x="6920406" y="5480779"/>
          <a:ext cx="5032606" cy="1066799"/>
        </p:xfrm>
        <a:graphic>
          <a:graphicData uri="http://schemas.openxmlformats.org/drawingml/2006/table">
            <a:tbl>
              <a:tblPr firstRow="1" bandRow="1">
                <a:tableStyleId>{C4B1156A-380E-4F78-BDF5-A606A8083BF9}</a:tableStyleId>
              </a:tblPr>
              <a:tblGrid>
                <a:gridCol w="902983">
                  <a:extLst>
                    <a:ext uri="{9D8B030D-6E8A-4147-A177-3AD203B41FA5}">
                      <a16:colId xmlns:a16="http://schemas.microsoft.com/office/drawing/2014/main" val="2150756075"/>
                    </a:ext>
                  </a:extLst>
                </a:gridCol>
                <a:gridCol w="1097157">
                  <a:extLst>
                    <a:ext uri="{9D8B030D-6E8A-4147-A177-3AD203B41FA5}">
                      <a16:colId xmlns:a16="http://schemas.microsoft.com/office/drawing/2014/main" val="3000137309"/>
                    </a:ext>
                  </a:extLst>
                </a:gridCol>
                <a:gridCol w="967810">
                  <a:extLst>
                    <a:ext uri="{9D8B030D-6E8A-4147-A177-3AD203B41FA5}">
                      <a16:colId xmlns:a16="http://schemas.microsoft.com/office/drawing/2014/main" val="3978428010"/>
                    </a:ext>
                  </a:extLst>
                </a:gridCol>
                <a:gridCol w="1086376">
                  <a:extLst>
                    <a:ext uri="{9D8B030D-6E8A-4147-A177-3AD203B41FA5}">
                      <a16:colId xmlns:a16="http://schemas.microsoft.com/office/drawing/2014/main" val="1934511155"/>
                    </a:ext>
                  </a:extLst>
                </a:gridCol>
                <a:gridCol w="978280">
                  <a:extLst>
                    <a:ext uri="{9D8B030D-6E8A-4147-A177-3AD203B41FA5}">
                      <a16:colId xmlns:a16="http://schemas.microsoft.com/office/drawing/2014/main" val="4043463958"/>
                    </a:ext>
                  </a:extLst>
                </a:gridCol>
              </a:tblGrid>
              <a:tr h="201296">
                <a:tc gridSpan="5"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Outcomes by Prior therapy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R/R-AML</a:t>
                      </a: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142180544"/>
                  </a:ext>
                </a:extLst>
              </a:tr>
              <a:tr h="340121">
                <a:tc>
                  <a:txBody>
                    <a:bodyPr/>
                    <a:lstStyle/>
                    <a:p>
                      <a:pPr algn="ctr"/>
                      <a:endParaRPr lang="en-US" sz="1000" b="1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Prior VEN</a:t>
                      </a:r>
                      <a:br>
                        <a:rPr lang="en-US" sz="1000" b="1" dirty="0"/>
                      </a:br>
                      <a:r>
                        <a:rPr lang="en-US" sz="1000" b="1" dirty="0"/>
                        <a:t>(n=21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VEN Naïve</a:t>
                      </a:r>
                      <a:br>
                        <a:rPr lang="en-US" sz="1000" b="1" dirty="0"/>
                      </a:br>
                      <a:r>
                        <a:rPr lang="en-US" sz="1000" b="1" dirty="0"/>
                        <a:t>(n=9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Prior IDHi</a:t>
                      </a:r>
                      <a:br>
                        <a:rPr lang="en-US" sz="1000" b="1" dirty="0"/>
                      </a:br>
                      <a:r>
                        <a:rPr lang="en-US" sz="1000" b="1" dirty="0"/>
                        <a:t>(n=7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TP53 Mut</a:t>
                      </a:r>
                    </a:p>
                    <a:p>
                      <a:pPr algn="ctr"/>
                      <a:r>
                        <a:rPr lang="en-US" sz="1000" b="1" dirty="0"/>
                        <a:t>(n=10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540740826"/>
                  </a:ext>
                </a:extLst>
              </a:tr>
              <a:tr h="201296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Median D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4.5 (14.5 –NA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13.2 (NR-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3.8 (13.2 – 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3.2 (NR-NR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922010707"/>
                  </a:ext>
                </a:extLst>
              </a:tr>
              <a:tr h="251459"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Median O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0.4 (4.7 – 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17.7 (5.9-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/>
                        <a:t>17.7 (10.4-NR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1" dirty="0"/>
                        <a:t>4.59 (2.9 -NR)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5545283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541862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55F644-B9FD-91E2-3B1C-71B65557318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1334814"/>
            <a:ext cx="12191999" cy="200276"/>
          </a:xfrm>
        </p:spPr>
        <p:txBody>
          <a:bodyPr/>
          <a:lstStyle/>
          <a:p>
            <a:pPr algn="l"/>
            <a:r>
              <a:rPr lang="en-US" dirty="0"/>
              <a:t>Safety profile and tolerability of triplet combination of ASTX727 + VEN + IDHi in both ND and R/R AML appears reassuring and may prove to be the optimal method of incorporating all effective therapies (HMA+VEN vs HMA+IVO vs HMA+VEN+IVO)</a:t>
            </a:r>
          </a:p>
          <a:p>
            <a:pPr algn="l"/>
            <a:endParaRPr lang="en-US" dirty="0"/>
          </a:p>
          <a:p>
            <a:pPr algn="l"/>
            <a:r>
              <a:rPr lang="en-US" b="1" dirty="0">
                <a:solidFill>
                  <a:srgbClr val="B62B30"/>
                </a:solidFill>
              </a:rPr>
              <a:t>Triplet outcomes to date: </a:t>
            </a:r>
          </a:p>
          <a:p>
            <a:pPr algn="l"/>
            <a:r>
              <a:rPr lang="en-US" b="1" dirty="0">
                <a:solidFill>
                  <a:srgbClr val="B62B30"/>
                </a:solidFill>
              </a:rPr>
              <a:t>	</a:t>
            </a:r>
            <a:r>
              <a:rPr lang="en-US" dirty="0" err="1">
                <a:solidFill>
                  <a:srgbClr val="B62B30"/>
                </a:solidFill>
              </a:rPr>
              <a:t>CRc</a:t>
            </a:r>
            <a:r>
              <a:rPr lang="en-US" dirty="0"/>
              <a:t> rates of </a:t>
            </a:r>
            <a:r>
              <a:rPr lang="en-US" dirty="0">
                <a:solidFill>
                  <a:srgbClr val="B62B30"/>
                </a:solidFill>
              </a:rPr>
              <a:t>96.2% </a:t>
            </a:r>
            <a:r>
              <a:rPr lang="en-US" dirty="0"/>
              <a:t>(ND-AML) and </a:t>
            </a:r>
            <a:r>
              <a:rPr lang="en-US" dirty="0">
                <a:solidFill>
                  <a:srgbClr val="B62B30"/>
                </a:solidFill>
              </a:rPr>
              <a:t>56.6% </a:t>
            </a:r>
            <a:r>
              <a:rPr lang="en-US" dirty="0"/>
              <a:t>(RR-AML)  </a:t>
            </a:r>
          </a:p>
          <a:p>
            <a:pPr algn="l"/>
            <a:r>
              <a:rPr lang="en-US" dirty="0">
                <a:solidFill>
                  <a:srgbClr val="B62B30"/>
                </a:solidFill>
              </a:rPr>
              <a:t>	Median OS NR</a:t>
            </a:r>
            <a:r>
              <a:rPr lang="en-US" dirty="0"/>
              <a:t> (</a:t>
            </a:r>
            <a:r>
              <a:rPr lang="en-US" dirty="0">
                <a:solidFill>
                  <a:srgbClr val="B62B30"/>
                </a:solidFill>
              </a:rPr>
              <a:t>ND-AML); mOS 17.7 and 10.4 months </a:t>
            </a:r>
            <a:r>
              <a:rPr lang="en-US" dirty="0"/>
              <a:t>for </a:t>
            </a:r>
            <a:r>
              <a:rPr lang="en-US" i="1" dirty="0"/>
              <a:t>IDH1</a:t>
            </a:r>
            <a:r>
              <a:rPr lang="en-US" dirty="0"/>
              <a:t> and </a:t>
            </a:r>
            <a:r>
              <a:rPr lang="en-US" i="1" dirty="0"/>
              <a:t>IDH2</a:t>
            </a:r>
            <a:r>
              <a:rPr lang="en-US" dirty="0"/>
              <a:t> </a:t>
            </a:r>
            <a:r>
              <a:rPr lang="en-US" dirty="0">
                <a:solidFill>
                  <a:srgbClr val="B62B30"/>
                </a:solidFill>
              </a:rPr>
              <a:t>RR-AML</a:t>
            </a:r>
            <a:endParaRPr lang="en-US" i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B08906-A11C-C10B-0863-6CA2A3D69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Arial Narrow" panose="020B0606020202030204" pitchFamily="34" charset="0"/>
              </a:rPr>
              <a:t>Conclusion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63E30D-AE1E-6393-C337-9AAC0F5F58AA}"/>
              </a:ext>
            </a:extLst>
          </p:cNvPr>
          <p:cNvSpPr txBox="1">
            <a:spLocks/>
          </p:cNvSpPr>
          <p:nvPr/>
        </p:nvSpPr>
        <p:spPr>
          <a:xfrm>
            <a:off x="1765300" y="0"/>
            <a:ext cx="7721600" cy="254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63666A"/>
                </a:solidFill>
                <a:latin typeface="Calibri"/>
              </a:rPr>
              <a:t>ASTX727 + Venetoclax + IDHi in Newly Diagnosed and Relapsed Refractory IDH mutated AML: Abstract 968 </a:t>
            </a:r>
          </a:p>
        </p:txBody>
      </p:sp>
    </p:spTree>
    <p:extLst>
      <p:ext uri="{BB962C8B-B14F-4D97-AF65-F5344CB8AC3E}">
        <p14:creationId xmlns:p14="http://schemas.microsoft.com/office/powerpoint/2010/main" val="21167272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DA2786-71B1-E345-A163-5F8C5786AB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Phase 1/2 Study of Novel IDH1 Inhibitor </a:t>
            </a:r>
            <a:r>
              <a:rPr lang="en-US" dirty="0" err="1">
                <a:latin typeface="Arial Narrow" panose="020B0606020202030204" pitchFamily="34" charset="0"/>
              </a:rPr>
              <a:t>Olutasidenib</a:t>
            </a:r>
            <a:br>
              <a:rPr lang="en-US" dirty="0">
                <a:latin typeface="Arial Narrow" panose="020B0606020202030204" pitchFamily="34" charset="0"/>
              </a:rPr>
            </a:br>
            <a:r>
              <a:rPr lang="en-US" sz="3100" i="1" dirty="0">
                <a:latin typeface="Arial Narrow" panose="020B0606020202030204" pitchFamily="34" charset="0"/>
              </a:rPr>
              <a:t>Multiple Cohorts of Monotherapy and Combination With Aza</a:t>
            </a:r>
            <a:r>
              <a:rPr lang="en-US" sz="3100" i="1" baseline="30000" dirty="0">
                <a:latin typeface="Arial Narrow" panose="020B0606020202030204" pitchFamily="34" charset="0"/>
              </a:rPr>
              <a:t>[1]</a:t>
            </a:r>
            <a:endParaRPr lang="en-US" i="1" baseline="30000" dirty="0">
              <a:latin typeface="Arial Narrow" panose="020B0606020202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30275B-E497-6A96-1291-C4E15364E85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6447152"/>
            <a:ext cx="12191999" cy="410847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1. ClinicalTrials.gov. Accessed August 31, 2023. https://www.clinicaltrials.gov/study/NCT02719574; 2. </a:t>
            </a:r>
            <a:r>
              <a:rPr kumimoji="0" lang="it-IT" sz="110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Olutasidenib [PI]. Approved 2022.</a:t>
            </a:r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E3BF3A-49AD-0959-FED4-4F0A4DF67AE7}"/>
              </a:ext>
            </a:extLst>
          </p:cNvPr>
          <p:cNvSpPr/>
          <p:nvPr/>
        </p:nvSpPr>
        <p:spPr>
          <a:xfrm>
            <a:off x="428625" y="1331197"/>
            <a:ext cx="590550" cy="8286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D70A3CC6-2AE6-6145-5648-E53149B37BB0}"/>
              </a:ext>
            </a:extLst>
          </p:cNvPr>
          <p:cNvGraphicFramePr/>
          <p:nvPr/>
        </p:nvGraphicFramePr>
        <p:xfrm>
          <a:off x="193040" y="1321275"/>
          <a:ext cx="8128000" cy="49169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93AF234-9486-5ACE-A9EF-573033D1E39B}"/>
              </a:ext>
            </a:extLst>
          </p:cNvPr>
          <p:cNvSpPr txBox="1"/>
          <p:nvPr/>
        </p:nvSpPr>
        <p:spPr>
          <a:xfrm>
            <a:off x="8798560" y="1331197"/>
            <a:ext cx="3098800" cy="335476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imary endpoint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 + </a:t>
            </a: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h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ey secondary endpoin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RR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oR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nsfusion independenc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S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ety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051EAEF-3C92-A2F2-EE13-7228FB06720F}"/>
              </a:ext>
            </a:extLst>
          </p:cNvPr>
          <p:cNvSpPr txBox="1"/>
          <p:nvPr/>
        </p:nvSpPr>
        <p:spPr>
          <a:xfrm>
            <a:off x="8798560" y="4827893"/>
            <a:ext cx="3098800" cy="1477328"/>
          </a:xfrm>
          <a:prstGeom prst="rect">
            <a:avLst/>
          </a:prstGeom>
          <a:solidFill>
            <a:srgbClr val="16A484"/>
          </a:solidFill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of Cohort 1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 to FDA approval of olutasidenib in December 2022 for </a:t>
            </a: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H1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mutated R/R AML</a:t>
            </a:r>
            <a:r>
              <a:rPr kumimoji="0" lang="en-US" sz="18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[2]</a:t>
            </a: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7899672D-3ECE-FAAA-B84D-D21D273C0DFD}"/>
              </a:ext>
            </a:extLst>
          </p:cNvPr>
          <p:cNvSpPr>
            <a:spLocks noEditPoints="1"/>
          </p:cNvSpPr>
          <p:nvPr/>
        </p:nvSpPr>
        <p:spPr bwMode="auto">
          <a:xfrm>
            <a:off x="-843280" y="2465221"/>
            <a:ext cx="6070189" cy="1314537"/>
          </a:xfrm>
          <a:custGeom>
            <a:avLst/>
            <a:gdLst>
              <a:gd name="T0" fmla="*/ 306 w 591"/>
              <a:gd name="T1" fmla="*/ 28 h 326"/>
              <a:gd name="T2" fmla="*/ 270 w 591"/>
              <a:gd name="T3" fmla="*/ 302 h 326"/>
              <a:gd name="T4" fmla="*/ 306 w 591"/>
              <a:gd name="T5" fmla="*/ 28 h 326"/>
              <a:gd name="T6" fmla="*/ 226 w 591"/>
              <a:gd name="T7" fmla="*/ 31 h 326"/>
              <a:gd name="T8" fmla="*/ 307 w 591"/>
              <a:gd name="T9" fmla="*/ 11 h 326"/>
              <a:gd name="T10" fmla="*/ 308 w 591"/>
              <a:gd name="T11" fmla="*/ 324 h 326"/>
              <a:gd name="T12" fmla="*/ 317 w 591"/>
              <a:gd name="T13" fmla="*/ 18 h 326"/>
              <a:gd name="T14" fmla="*/ 244 w 591"/>
              <a:gd name="T15" fmla="*/ 27 h 326"/>
              <a:gd name="T16" fmla="*/ 226 w 591"/>
              <a:gd name="T17" fmla="*/ 31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91" h="326">
                <a:moveTo>
                  <a:pt x="306" y="28"/>
                </a:moveTo>
                <a:cubicBezTo>
                  <a:pt x="567" y="29"/>
                  <a:pt x="510" y="310"/>
                  <a:pt x="270" y="302"/>
                </a:cubicBezTo>
                <a:cubicBezTo>
                  <a:pt x="27" y="295"/>
                  <a:pt x="70" y="28"/>
                  <a:pt x="306" y="28"/>
                </a:cubicBezTo>
                <a:close/>
                <a:moveTo>
                  <a:pt x="226" y="31"/>
                </a:moveTo>
                <a:cubicBezTo>
                  <a:pt x="242" y="24"/>
                  <a:pt x="273" y="18"/>
                  <a:pt x="307" y="11"/>
                </a:cubicBezTo>
                <a:cubicBezTo>
                  <a:pt x="41" y="0"/>
                  <a:pt x="0" y="326"/>
                  <a:pt x="308" y="324"/>
                </a:cubicBezTo>
                <a:cubicBezTo>
                  <a:pt x="516" y="313"/>
                  <a:pt x="591" y="15"/>
                  <a:pt x="317" y="18"/>
                </a:cubicBezTo>
                <a:cubicBezTo>
                  <a:pt x="295" y="19"/>
                  <a:pt x="270" y="23"/>
                  <a:pt x="244" y="27"/>
                </a:cubicBezTo>
                <a:cubicBezTo>
                  <a:pt x="238" y="28"/>
                  <a:pt x="229" y="31"/>
                  <a:pt x="226" y="31"/>
                </a:cubicBezTo>
                <a:close/>
              </a:path>
            </a:pathLst>
          </a:custGeom>
          <a:solidFill>
            <a:srgbClr val="16A48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Freeform 24">
            <a:extLst>
              <a:ext uri="{FF2B5EF4-FFF2-40B4-BE49-F238E27FC236}">
                <a16:creationId xmlns:a16="http://schemas.microsoft.com/office/drawing/2014/main" id="{05727F64-B9C8-3A3E-377F-0367916C24E5}"/>
              </a:ext>
            </a:extLst>
          </p:cNvPr>
          <p:cNvSpPr>
            <a:spLocks/>
          </p:cNvSpPr>
          <p:nvPr/>
        </p:nvSpPr>
        <p:spPr bwMode="auto">
          <a:xfrm rot="302012" flipH="1" flipV="1">
            <a:off x="3175365" y="4070741"/>
            <a:ext cx="5558610" cy="1716525"/>
          </a:xfrm>
          <a:custGeom>
            <a:avLst/>
            <a:gdLst>
              <a:gd name="T0" fmla="*/ 381 w 444"/>
              <a:gd name="T1" fmla="*/ 148 h 215"/>
              <a:gd name="T2" fmla="*/ 338 w 444"/>
              <a:gd name="T3" fmla="*/ 115 h 215"/>
              <a:gd name="T4" fmla="*/ 192 w 444"/>
              <a:gd name="T5" fmla="*/ 60 h 215"/>
              <a:gd name="T6" fmla="*/ 3 w 444"/>
              <a:gd name="T7" fmla="*/ 113 h 215"/>
              <a:gd name="T8" fmla="*/ 4 w 444"/>
              <a:gd name="T9" fmla="*/ 113 h 215"/>
              <a:gd name="T10" fmla="*/ 385 w 444"/>
              <a:gd name="T11" fmla="*/ 174 h 215"/>
              <a:gd name="T12" fmla="*/ 332 w 444"/>
              <a:gd name="T13" fmla="*/ 168 h 215"/>
              <a:gd name="T14" fmla="*/ 327 w 444"/>
              <a:gd name="T15" fmla="*/ 170 h 215"/>
              <a:gd name="T16" fmla="*/ 425 w 444"/>
              <a:gd name="T17" fmla="*/ 186 h 215"/>
              <a:gd name="T18" fmla="*/ 388 w 444"/>
              <a:gd name="T19" fmla="*/ 123 h 215"/>
              <a:gd name="T20" fmla="*/ 367 w 444"/>
              <a:gd name="T21" fmla="*/ 121 h 215"/>
              <a:gd name="T22" fmla="*/ 381 w 444"/>
              <a:gd name="T23" fmla="*/ 14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4" h="215">
                <a:moveTo>
                  <a:pt x="381" y="148"/>
                </a:moveTo>
                <a:cubicBezTo>
                  <a:pt x="381" y="148"/>
                  <a:pt x="365" y="135"/>
                  <a:pt x="338" y="115"/>
                </a:cubicBezTo>
                <a:cubicBezTo>
                  <a:pt x="313" y="96"/>
                  <a:pt x="256" y="69"/>
                  <a:pt x="192" y="60"/>
                </a:cubicBezTo>
                <a:cubicBezTo>
                  <a:pt x="114" y="49"/>
                  <a:pt x="29" y="63"/>
                  <a:pt x="3" y="113"/>
                </a:cubicBezTo>
                <a:cubicBezTo>
                  <a:pt x="4" y="113"/>
                  <a:pt x="4" y="113"/>
                  <a:pt x="4" y="113"/>
                </a:cubicBezTo>
                <a:cubicBezTo>
                  <a:pt x="0" y="115"/>
                  <a:pt x="184" y="0"/>
                  <a:pt x="385" y="174"/>
                </a:cubicBezTo>
                <a:cubicBezTo>
                  <a:pt x="368" y="175"/>
                  <a:pt x="350" y="173"/>
                  <a:pt x="332" y="168"/>
                </a:cubicBezTo>
                <a:cubicBezTo>
                  <a:pt x="327" y="166"/>
                  <a:pt x="328" y="169"/>
                  <a:pt x="327" y="170"/>
                </a:cubicBezTo>
                <a:cubicBezTo>
                  <a:pt x="316" y="188"/>
                  <a:pt x="444" y="215"/>
                  <a:pt x="425" y="186"/>
                </a:cubicBezTo>
                <a:cubicBezTo>
                  <a:pt x="414" y="166"/>
                  <a:pt x="400" y="144"/>
                  <a:pt x="388" y="123"/>
                </a:cubicBezTo>
                <a:cubicBezTo>
                  <a:pt x="369" y="89"/>
                  <a:pt x="356" y="99"/>
                  <a:pt x="367" y="121"/>
                </a:cubicBezTo>
                <a:lnTo>
                  <a:pt x="381" y="148"/>
                </a:lnTo>
                <a:close/>
              </a:path>
            </a:pathLst>
          </a:custGeom>
          <a:solidFill>
            <a:srgbClr val="16A48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082760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113BED4-EAC3-2C18-F23C-C770C0578DEC}"/>
              </a:ext>
            </a:extLst>
          </p:cNvPr>
          <p:cNvSpPr txBox="1">
            <a:spLocks/>
          </p:cNvSpPr>
          <p:nvPr/>
        </p:nvSpPr>
        <p:spPr>
          <a:xfrm>
            <a:off x="486074" y="5848849"/>
            <a:ext cx="11314356" cy="86981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mOS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, median overall survival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1.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de </a:t>
            </a:r>
            <a:r>
              <a:rPr kumimoji="0" lang="en-US" alt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otton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S, et al. </a:t>
            </a:r>
            <a:r>
              <a:rPr kumimoji="0" lang="en-US" alt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3;bloodadvances.2022009411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. DiNardo CD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N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Engl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J Med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18;378:2386-2398. </a:t>
            </a:r>
          </a:p>
        </p:txBody>
      </p:sp>
      <p:pic>
        <p:nvPicPr>
          <p:cNvPr id="1186" name="Picture 1185">
            <a:extLst>
              <a:ext uri="{FF2B5EF4-FFF2-40B4-BE49-F238E27FC236}">
                <a16:creationId xmlns:a16="http://schemas.microsoft.com/office/drawing/2014/main" id="{CAD23828-C68E-2976-D132-18D940777C49}"/>
              </a:ext>
            </a:extLst>
          </p:cNvPr>
          <p:cNvPicPr>
            <a:picLocks/>
          </p:cNvPicPr>
          <p:nvPr/>
        </p:nvPicPr>
        <p:blipFill>
          <a:blip r:embed="rId3">
            <a:alphaModFix amt="51000"/>
          </a:blip>
          <a:stretch>
            <a:fillRect/>
          </a:stretch>
        </p:blipFill>
        <p:spPr>
          <a:xfrm>
            <a:off x="6257866" y="1900454"/>
            <a:ext cx="276616" cy="4127814"/>
          </a:xfrm>
          <a:prstGeom prst="rect">
            <a:avLst/>
          </a:prstGeom>
        </p:spPr>
      </p:pic>
      <p:grpSp>
        <p:nvGrpSpPr>
          <p:cNvPr id="461" name="Group 460">
            <a:extLst>
              <a:ext uri="{FF2B5EF4-FFF2-40B4-BE49-F238E27FC236}">
                <a16:creationId xmlns:a16="http://schemas.microsoft.com/office/drawing/2014/main" id="{5C3B94F5-807B-A2FC-4653-A13CAF3E9611}"/>
              </a:ext>
            </a:extLst>
          </p:cNvPr>
          <p:cNvGrpSpPr>
            <a:grpSpLocks noChangeAspect="1"/>
          </p:cNvGrpSpPr>
          <p:nvPr/>
        </p:nvGrpSpPr>
        <p:grpSpPr>
          <a:xfrm>
            <a:off x="643087" y="2045193"/>
            <a:ext cx="5295005" cy="4178622"/>
            <a:chOff x="632840" y="885414"/>
            <a:chExt cx="6934774" cy="4969930"/>
          </a:xfrm>
        </p:grpSpPr>
        <p:grpSp>
          <p:nvGrpSpPr>
            <p:cNvPr id="462" name="Group 461">
              <a:extLst>
                <a:ext uri="{FF2B5EF4-FFF2-40B4-BE49-F238E27FC236}">
                  <a16:creationId xmlns:a16="http://schemas.microsoft.com/office/drawing/2014/main" id="{AAF18FB0-979C-2CE3-B9A7-81A6E1D308A2}"/>
                </a:ext>
              </a:extLst>
            </p:cNvPr>
            <p:cNvGrpSpPr/>
            <p:nvPr/>
          </p:nvGrpSpPr>
          <p:grpSpPr>
            <a:xfrm>
              <a:off x="1465227" y="1517461"/>
              <a:ext cx="4302793" cy="3143458"/>
              <a:chOff x="1446551" y="1528997"/>
              <a:chExt cx="4388370" cy="3174167"/>
            </a:xfrm>
          </p:grpSpPr>
          <p:sp>
            <p:nvSpPr>
              <p:cNvPr id="614" name="Freeform 952">
                <a:extLst>
                  <a:ext uri="{FF2B5EF4-FFF2-40B4-BE49-F238E27FC236}">
                    <a16:creationId xmlns:a16="http://schemas.microsoft.com/office/drawing/2014/main" id="{9BDE2F3F-50EA-BB3B-9562-7B13D5672F0C}"/>
                  </a:ext>
                </a:extLst>
              </p:cNvPr>
              <p:cNvSpPr/>
              <p:nvPr/>
            </p:nvSpPr>
            <p:spPr>
              <a:xfrm>
                <a:off x="1446551" y="1528997"/>
                <a:ext cx="4388370" cy="3174167"/>
              </a:xfrm>
              <a:custGeom>
                <a:avLst/>
                <a:gdLst>
                  <a:gd name="connsiteX0" fmla="*/ 0 w 4388370"/>
                  <a:gd name="connsiteY0" fmla="*/ 0 h 3174167"/>
                  <a:gd name="connsiteX1" fmla="*/ 400987 w 4388370"/>
                  <a:gd name="connsiteY1" fmla="*/ 0 h 3174167"/>
                  <a:gd name="connsiteX2" fmla="*/ 400987 w 4388370"/>
                  <a:gd name="connsiteY2" fmla="*/ 168639 h 3174167"/>
                  <a:gd name="connsiteX3" fmla="*/ 678305 w 4388370"/>
                  <a:gd name="connsiteY3" fmla="*/ 168639 h 3174167"/>
                  <a:gd name="connsiteX4" fmla="*/ 678305 w 4388370"/>
                  <a:gd name="connsiteY4" fmla="*/ 333531 h 3174167"/>
                  <a:gd name="connsiteX5" fmla="*/ 715780 w 4388370"/>
                  <a:gd name="connsiteY5" fmla="*/ 333531 h 3174167"/>
                  <a:gd name="connsiteX6" fmla="*/ 715780 w 4388370"/>
                  <a:gd name="connsiteY6" fmla="*/ 494675 h 3174167"/>
                  <a:gd name="connsiteX7" fmla="*/ 779488 w 4388370"/>
                  <a:gd name="connsiteY7" fmla="*/ 494675 h 3174167"/>
                  <a:gd name="connsiteX8" fmla="*/ 779488 w 4388370"/>
                  <a:gd name="connsiteY8" fmla="*/ 644577 h 3174167"/>
                  <a:gd name="connsiteX9" fmla="*/ 936885 w 4388370"/>
                  <a:gd name="connsiteY9" fmla="*/ 644577 h 3174167"/>
                  <a:gd name="connsiteX10" fmla="*/ 936885 w 4388370"/>
                  <a:gd name="connsiteY10" fmla="*/ 801973 h 3174167"/>
                  <a:gd name="connsiteX11" fmla="*/ 1191718 w 4388370"/>
                  <a:gd name="connsiteY11" fmla="*/ 801973 h 3174167"/>
                  <a:gd name="connsiteX12" fmla="*/ 1191718 w 4388370"/>
                  <a:gd name="connsiteY12" fmla="*/ 966865 h 3174167"/>
                  <a:gd name="connsiteX13" fmla="*/ 1412823 w 4388370"/>
                  <a:gd name="connsiteY13" fmla="*/ 966865 h 3174167"/>
                  <a:gd name="connsiteX14" fmla="*/ 1412823 w 4388370"/>
                  <a:gd name="connsiteY14" fmla="*/ 1131757 h 3174167"/>
                  <a:gd name="connsiteX15" fmla="*/ 1566472 w 4388370"/>
                  <a:gd name="connsiteY15" fmla="*/ 1131757 h 3174167"/>
                  <a:gd name="connsiteX16" fmla="*/ 1566472 w 4388370"/>
                  <a:gd name="connsiteY16" fmla="*/ 1289154 h 3174167"/>
                  <a:gd name="connsiteX17" fmla="*/ 1566472 w 4388370"/>
                  <a:gd name="connsiteY17" fmla="*/ 1289154 h 3174167"/>
                  <a:gd name="connsiteX18" fmla="*/ 1603947 w 4388370"/>
                  <a:gd name="connsiteY18" fmla="*/ 1289154 h 3174167"/>
                  <a:gd name="connsiteX19" fmla="*/ 1603947 w 4388370"/>
                  <a:gd name="connsiteY19" fmla="*/ 1435308 h 3174167"/>
                  <a:gd name="connsiteX20" fmla="*/ 1948721 w 4388370"/>
                  <a:gd name="connsiteY20" fmla="*/ 1435308 h 3174167"/>
                  <a:gd name="connsiteX21" fmla="*/ 1948721 w 4388370"/>
                  <a:gd name="connsiteY21" fmla="*/ 1600200 h 3174167"/>
                  <a:gd name="connsiteX22" fmla="*/ 2315980 w 4388370"/>
                  <a:gd name="connsiteY22" fmla="*/ 1600200 h 3174167"/>
                  <a:gd name="connsiteX23" fmla="*/ 2315980 w 4388370"/>
                  <a:gd name="connsiteY23" fmla="*/ 1795072 h 3174167"/>
                  <a:gd name="connsiteX24" fmla="*/ 2597046 w 4388370"/>
                  <a:gd name="connsiteY24" fmla="*/ 1795072 h 3174167"/>
                  <a:gd name="connsiteX25" fmla="*/ 2597046 w 4388370"/>
                  <a:gd name="connsiteY25" fmla="*/ 2001187 h 3174167"/>
                  <a:gd name="connsiteX26" fmla="*/ 3710065 w 4388370"/>
                  <a:gd name="connsiteY26" fmla="*/ 2001187 h 3174167"/>
                  <a:gd name="connsiteX27" fmla="*/ 3710065 w 4388370"/>
                  <a:gd name="connsiteY27" fmla="*/ 2387183 h 3174167"/>
                  <a:gd name="connsiteX28" fmla="*/ 4388370 w 4388370"/>
                  <a:gd name="connsiteY28" fmla="*/ 2387183 h 3174167"/>
                  <a:gd name="connsiteX29" fmla="*/ 4388370 w 4388370"/>
                  <a:gd name="connsiteY29" fmla="*/ 3174167 h 3174167"/>
                  <a:gd name="connsiteX0" fmla="*/ 0 w 4388370"/>
                  <a:gd name="connsiteY0" fmla="*/ 0 h 3174167"/>
                  <a:gd name="connsiteX1" fmla="*/ 400987 w 4388370"/>
                  <a:gd name="connsiteY1" fmla="*/ 0 h 3174167"/>
                  <a:gd name="connsiteX2" fmla="*/ 400987 w 4388370"/>
                  <a:gd name="connsiteY2" fmla="*/ 168639 h 3174167"/>
                  <a:gd name="connsiteX3" fmla="*/ 678305 w 4388370"/>
                  <a:gd name="connsiteY3" fmla="*/ 168639 h 3174167"/>
                  <a:gd name="connsiteX4" fmla="*/ 678305 w 4388370"/>
                  <a:gd name="connsiteY4" fmla="*/ 333531 h 3174167"/>
                  <a:gd name="connsiteX5" fmla="*/ 715780 w 4388370"/>
                  <a:gd name="connsiteY5" fmla="*/ 333531 h 3174167"/>
                  <a:gd name="connsiteX6" fmla="*/ 715780 w 4388370"/>
                  <a:gd name="connsiteY6" fmla="*/ 494675 h 3174167"/>
                  <a:gd name="connsiteX7" fmla="*/ 779488 w 4388370"/>
                  <a:gd name="connsiteY7" fmla="*/ 494675 h 3174167"/>
                  <a:gd name="connsiteX8" fmla="*/ 779488 w 4388370"/>
                  <a:gd name="connsiteY8" fmla="*/ 644577 h 3174167"/>
                  <a:gd name="connsiteX9" fmla="*/ 936885 w 4388370"/>
                  <a:gd name="connsiteY9" fmla="*/ 644577 h 3174167"/>
                  <a:gd name="connsiteX10" fmla="*/ 936885 w 4388370"/>
                  <a:gd name="connsiteY10" fmla="*/ 801973 h 3174167"/>
                  <a:gd name="connsiteX11" fmla="*/ 1191718 w 4388370"/>
                  <a:gd name="connsiteY11" fmla="*/ 801973 h 3174167"/>
                  <a:gd name="connsiteX12" fmla="*/ 1191718 w 4388370"/>
                  <a:gd name="connsiteY12" fmla="*/ 966865 h 3174167"/>
                  <a:gd name="connsiteX13" fmla="*/ 1412823 w 4388370"/>
                  <a:gd name="connsiteY13" fmla="*/ 966865 h 3174167"/>
                  <a:gd name="connsiteX14" fmla="*/ 1412823 w 4388370"/>
                  <a:gd name="connsiteY14" fmla="*/ 1131757 h 3174167"/>
                  <a:gd name="connsiteX15" fmla="*/ 1566472 w 4388370"/>
                  <a:gd name="connsiteY15" fmla="*/ 1131757 h 3174167"/>
                  <a:gd name="connsiteX16" fmla="*/ 1566472 w 4388370"/>
                  <a:gd name="connsiteY16" fmla="*/ 1289154 h 3174167"/>
                  <a:gd name="connsiteX17" fmla="*/ 1566472 w 4388370"/>
                  <a:gd name="connsiteY17" fmla="*/ 1289154 h 3174167"/>
                  <a:gd name="connsiteX18" fmla="*/ 1588072 w 4388370"/>
                  <a:gd name="connsiteY18" fmla="*/ 1289154 h 3174167"/>
                  <a:gd name="connsiteX19" fmla="*/ 1603947 w 4388370"/>
                  <a:gd name="connsiteY19" fmla="*/ 1435308 h 3174167"/>
                  <a:gd name="connsiteX20" fmla="*/ 1948721 w 4388370"/>
                  <a:gd name="connsiteY20" fmla="*/ 1435308 h 3174167"/>
                  <a:gd name="connsiteX21" fmla="*/ 1948721 w 4388370"/>
                  <a:gd name="connsiteY21" fmla="*/ 1600200 h 3174167"/>
                  <a:gd name="connsiteX22" fmla="*/ 2315980 w 4388370"/>
                  <a:gd name="connsiteY22" fmla="*/ 1600200 h 3174167"/>
                  <a:gd name="connsiteX23" fmla="*/ 2315980 w 4388370"/>
                  <a:gd name="connsiteY23" fmla="*/ 1795072 h 3174167"/>
                  <a:gd name="connsiteX24" fmla="*/ 2597046 w 4388370"/>
                  <a:gd name="connsiteY24" fmla="*/ 1795072 h 3174167"/>
                  <a:gd name="connsiteX25" fmla="*/ 2597046 w 4388370"/>
                  <a:gd name="connsiteY25" fmla="*/ 2001187 h 3174167"/>
                  <a:gd name="connsiteX26" fmla="*/ 3710065 w 4388370"/>
                  <a:gd name="connsiteY26" fmla="*/ 2001187 h 3174167"/>
                  <a:gd name="connsiteX27" fmla="*/ 3710065 w 4388370"/>
                  <a:gd name="connsiteY27" fmla="*/ 2387183 h 3174167"/>
                  <a:gd name="connsiteX28" fmla="*/ 4388370 w 4388370"/>
                  <a:gd name="connsiteY28" fmla="*/ 2387183 h 3174167"/>
                  <a:gd name="connsiteX29" fmla="*/ 4388370 w 4388370"/>
                  <a:gd name="connsiteY29" fmla="*/ 3174167 h 3174167"/>
                  <a:gd name="connsiteX0" fmla="*/ 0 w 4388370"/>
                  <a:gd name="connsiteY0" fmla="*/ 0 h 3174167"/>
                  <a:gd name="connsiteX1" fmla="*/ 400987 w 4388370"/>
                  <a:gd name="connsiteY1" fmla="*/ 0 h 3174167"/>
                  <a:gd name="connsiteX2" fmla="*/ 400987 w 4388370"/>
                  <a:gd name="connsiteY2" fmla="*/ 168639 h 3174167"/>
                  <a:gd name="connsiteX3" fmla="*/ 678305 w 4388370"/>
                  <a:gd name="connsiteY3" fmla="*/ 168639 h 3174167"/>
                  <a:gd name="connsiteX4" fmla="*/ 678305 w 4388370"/>
                  <a:gd name="connsiteY4" fmla="*/ 333531 h 3174167"/>
                  <a:gd name="connsiteX5" fmla="*/ 715780 w 4388370"/>
                  <a:gd name="connsiteY5" fmla="*/ 333531 h 3174167"/>
                  <a:gd name="connsiteX6" fmla="*/ 715780 w 4388370"/>
                  <a:gd name="connsiteY6" fmla="*/ 494675 h 3174167"/>
                  <a:gd name="connsiteX7" fmla="*/ 779488 w 4388370"/>
                  <a:gd name="connsiteY7" fmla="*/ 494675 h 3174167"/>
                  <a:gd name="connsiteX8" fmla="*/ 779488 w 4388370"/>
                  <a:gd name="connsiteY8" fmla="*/ 644577 h 3174167"/>
                  <a:gd name="connsiteX9" fmla="*/ 936885 w 4388370"/>
                  <a:gd name="connsiteY9" fmla="*/ 644577 h 3174167"/>
                  <a:gd name="connsiteX10" fmla="*/ 936885 w 4388370"/>
                  <a:gd name="connsiteY10" fmla="*/ 801973 h 3174167"/>
                  <a:gd name="connsiteX11" fmla="*/ 1191718 w 4388370"/>
                  <a:gd name="connsiteY11" fmla="*/ 801973 h 3174167"/>
                  <a:gd name="connsiteX12" fmla="*/ 1191718 w 4388370"/>
                  <a:gd name="connsiteY12" fmla="*/ 966865 h 3174167"/>
                  <a:gd name="connsiteX13" fmla="*/ 1412823 w 4388370"/>
                  <a:gd name="connsiteY13" fmla="*/ 966865 h 3174167"/>
                  <a:gd name="connsiteX14" fmla="*/ 1412823 w 4388370"/>
                  <a:gd name="connsiteY14" fmla="*/ 1131757 h 3174167"/>
                  <a:gd name="connsiteX15" fmla="*/ 1566472 w 4388370"/>
                  <a:gd name="connsiteY15" fmla="*/ 1131757 h 3174167"/>
                  <a:gd name="connsiteX16" fmla="*/ 1566472 w 4388370"/>
                  <a:gd name="connsiteY16" fmla="*/ 1289154 h 3174167"/>
                  <a:gd name="connsiteX17" fmla="*/ 1566472 w 4388370"/>
                  <a:gd name="connsiteY17" fmla="*/ 1289154 h 3174167"/>
                  <a:gd name="connsiteX18" fmla="*/ 1588072 w 4388370"/>
                  <a:gd name="connsiteY18" fmla="*/ 1289154 h 3174167"/>
                  <a:gd name="connsiteX19" fmla="*/ 1584897 w 4388370"/>
                  <a:gd name="connsiteY19" fmla="*/ 1435308 h 3174167"/>
                  <a:gd name="connsiteX20" fmla="*/ 1948721 w 4388370"/>
                  <a:gd name="connsiteY20" fmla="*/ 1435308 h 3174167"/>
                  <a:gd name="connsiteX21" fmla="*/ 1948721 w 4388370"/>
                  <a:gd name="connsiteY21" fmla="*/ 1600200 h 3174167"/>
                  <a:gd name="connsiteX22" fmla="*/ 2315980 w 4388370"/>
                  <a:gd name="connsiteY22" fmla="*/ 1600200 h 3174167"/>
                  <a:gd name="connsiteX23" fmla="*/ 2315980 w 4388370"/>
                  <a:gd name="connsiteY23" fmla="*/ 1795072 h 3174167"/>
                  <a:gd name="connsiteX24" fmla="*/ 2597046 w 4388370"/>
                  <a:gd name="connsiteY24" fmla="*/ 1795072 h 3174167"/>
                  <a:gd name="connsiteX25" fmla="*/ 2597046 w 4388370"/>
                  <a:gd name="connsiteY25" fmla="*/ 2001187 h 3174167"/>
                  <a:gd name="connsiteX26" fmla="*/ 3710065 w 4388370"/>
                  <a:gd name="connsiteY26" fmla="*/ 2001187 h 3174167"/>
                  <a:gd name="connsiteX27" fmla="*/ 3710065 w 4388370"/>
                  <a:gd name="connsiteY27" fmla="*/ 2387183 h 3174167"/>
                  <a:gd name="connsiteX28" fmla="*/ 4388370 w 4388370"/>
                  <a:gd name="connsiteY28" fmla="*/ 2387183 h 3174167"/>
                  <a:gd name="connsiteX29" fmla="*/ 4388370 w 4388370"/>
                  <a:gd name="connsiteY29" fmla="*/ 3174167 h 3174167"/>
                  <a:gd name="connsiteX0" fmla="*/ 0 w 4388370"/>
                  <a:gd name="connsiteY0" fmla="*/ 0 h 3174167"/>
                  <a:gd name="connsiteX1" fmla="*/ 400987 w 4388370"/>
                  <a:gd name="connsiteY1" fmla="*/ 0 h 3174167"/>
                  <a:gd name="connsiteX2" fmla="*/ 400987 w 4388370"/>
                  <a:gd name="connsiteY2" fmla="*/ 168639 h 3174167"/>
                  <a:gd name="connsiteX3" fmla="*/ 678305 w 4388370"/>
                  <a:gd name="connsiteY3" fmla="*/ 168639 h 3174167"/>
                  <a:gd name="connsiteX4" fmla="*/ 678305 w 4388370"/>
                  <a:gd name="connsiteY4" fmla="*/ 333531 h 3174167"/>
                  <a:gd name="connsiteX5" fmla="*/ 715780 w 4388370"/>
                  <a:gd name="connsiteY5" fmla="*/ 333531 h 3174167"/>
                  <a:gd name="connsiteX6" fmla="*/ 703080 w 4388370"/>
                  <a:gd name="connsiteY6" fmla="*/ 491500 h 3174167"/>
                  <a:gd name="connsiteX7" fmla="*/ 779488 w 4388370"/>
                  <a:gd name="connsiteY7" fmla="*/ 494675 h 3174167"/>
                  <a:gd name="connsiteX8" fmla="*/ 779488 w 4388370"/>
                  <a:gd name="connsiteY8" fmla="*/ 644577 h 3174167"/>
                  <a:gd name="connsiteX9" fmla="*/ 936885 w 4388370"/>
                  <a:gd name="connsiteY9" fmla="*/ 644577 h 3174167"/>
                  <a:gd name="connsiteX10" fmla="*/ 936885 w 4388370"/>
                  <a:gd name="connsiteY10" fmla="*/ 801973 h 3174167"/>
                  <a:gd name="connsiteX11" fmla="*/ 1191718 w 4388370"/>
                  <a:gd name="connsiteY11" fmla="*/ 801973 h 3174167"/>
                  <a:gd name="connsiteX12" fmla="*/ 1191718 w 4388370"/>
                  <a:gd name="connsiteY12" fmla="*/ 966865 h 3174167"/>
                  <a:gd name="connsiteX13" fmla="*/ 1412823 w 4388370"/>
                  <a:gd name="connsiteY13" fmla="*/ 966865 h 3174167"/>
                  <a:gd name="connsiteX14" fmla="*/ 1412823 w 4388370"/>
                  <a:gd name="connsiteY14" fmla="*/ 1131757 h 3174167"/>
                  <a:gd name="connsiteX15" fmla="*/ 1566472 w 4388370"/>
                  <a:gd name="connsiteY15" fmla="*/ 1131757 h 3174167"/>
                  <a:gd name="connsiteX16" fmla="*/ 1566472 w 4388370"/>
                  <a:gd name="connsiteY16" fmla="*/ 1289154 h 3174167"/>
                  <a:gd name="connsiteX17" fmla="*/ 1566472 w 4388370"/>
                  <a:gd name="connsiteY17" fmla="*/ 1289154 h 3174167"/>
                  <a:gd name="connsiteX18" fmla="*/ 1588072 w 4388370"/>
                  <a:gd name="connsiteY18" fmla="*/ 1289154 h 3174167"/>
                  <a:gd name="connsiteX19" fmla="*/ 1584897 w 4388370"/>
                  <a:gd name="connsiteY19" fmla="*/ 1435308 h 3174167"/>
                  <a:gd name="connsiteX20" fmla="*/ 1948721 w 4388370"/>
                  <a:gd name="connsiteY20" fmla="*/ 1435308 h 3174167"/>
                  <a:gd name="connsiteX21" fmla="*/ 1948721 w 4388370"/>
                  <a:gd name="connsiteY21" fmla="*/ 1600200 h 3174167"/>
                  <a:gd name="connsiteX22" fmla="*/ 2315980 w 4388370"/>
                  <a:gd name="connsiteY22" fmla="*/ 1600200 h 3174167"/>
                  <a:gd name="connsiteX23" fmla="*/ 2315980 w 4388370"/>
                  <a:gd name="connsiteY23" fmla="*/ 1795072 h 3174167"/>
                  <a:gd name="connsiteX24" fmla="*/ 2597046 w 4388370"/>
                  <a:gd name="connsiteY24" fmla="*/ 1795072 h 3174167"/>
                  <a:gd name="connsiteX25" fmla="*/ 2597046 w 4388370"/>
                  <a:gd name="connsiteY25" fmla="*/ 2001187 h 3174167"/>
                  <a:gd name="connsiteX26" fmla="*/ 3710065 w 4388370"/>
                  <a:gd name="connsiteY26" fmla="*/ 2001187 h 3174167"/>
                  <a:gd name="connsiteX27" fmla="*/ 3710065 w 4388370"/>
                  <a:gd name="connsiteY27" fmla="*/ 2387183 h 3174167"/>
                  <a:gd name="connsiteX28" fmla="*/ 4388370 w 4388370"/>
                  <a:gd name="connsiteY28" fmla="*/ 2387183 h 3174167"/>
                  <a:gd name="connsiteX29" fmla="*/ 4388370 w 4388370"/>
                  <a:gd name="connsiteY29" fmla="*/ 3174167 h 3174167"/>
                  <a:gd name="connsiteX0" fmla="*/ 0 w 4388370"/>
                  <a:gd name="connsiteY0" fmla="*/ 0 h 3174167"/>
                  <a:gd name="connsiteX1" fmla="*/ 400987 w 4388370"/>
                  <a:gd name="connsiteY1" fmla="*/ 0 h 3174167"/>
                  <a:gd name="connsiteX2" fmla="*/ 400987 w 4388370"/>
                  <a:gd name="connsiteY2" fmla="*/ 168639 h 3174167"/>
                  <a:gd name="connsiteX3" fmla="*/ 678305 w 4388370"/>
                  <a:gd name="connsiteY3" fmla="*/ 168639 h 3174167"/>
                  <a:gd name="connsiteX4" fmla="*/ 678305 w 4388370"/>
                  <a:gd name="connsiteY4" fmla="*/ 333531 h 3174167"/>
                  <a:gd name="connsiteX5" fmla="*/ 699905 w 4388370"/>
                  <a:gd name="connsiteY5" fmla="*/ 330356 h 3174167"/>
                  <a:gd name="connsiteX6" fmla="*/ 703080 w 4388370"/>
                  <a:gd name="connsiteY6" fmla="*/ 491500 h 3174167"/>
                  <a:gd name="connsiteX7" fmla="*/ 779488 w 4388370"/>
                  <a:gd name="connsiteY7" fmla="*/ 494675 h 3174167"/>
                  <a:gd name="connsiteX8" fmla="*/ 779488 w 4388370"/>
                  <a:gd name="connsiteY8" fmla="*/ 644577 h 3174167"/>
                  <a:gd name="connsiteX9" fmla="*/ 936885 w 4388370"/>
                  <a:gd name="connsiteY9" fmla="*/ 644577 h 3174167"/>
                  <a:gd name="connsiteX10" fmla="*/ 936885 w 4388370"/>
                  <a:gd name="connsiteY10" fmla="*/ 801973 h 3174167"/>
                  <a:gd name="connsiteX11" fmla="*/ 1191718 w 4388370"/>
                  <a:gd name="connsiteY11" fmla="*/ 801973 h 3174167"/>
                  <a:gd name="connsiteX12" fmla="*/ 1191718 w 4388370"/>
                  <a:gd name="connsiteY12" fmla="*/ 966865 h 3174167"/>
                  <a:gd name="connsiteX13" fmla="*/ 1412823 w 4388370"/>
                  <a:gd name="connsiteY13" fmla="*/ 966865 h 3174167"/>
                  <a:gd name="connsiteX14" fmla="*/ 1412823 w 4388370"/>
                  <a:gd name="connsiteY14" fmla="*/ 1131757 h 3174167"/>
                  <a:gd name="connsiteX15" fmla="*/ 1566472 w 4388370"/>
                  <a:gd name="connsiteY15" fmla="*/ 1131757 h 3174167"/>
                  <a:gd name="connsiteX16" fmla="*/ 1566472 w 4388370"/>
                  <a:gd name="connsiteY16" fmla="*/ 1289154 h 3174167"/>
                  <a:gd name="connsiteX17" fmla="*/ 1566472 w 4388370"/>
                  <a:gd name="connsiteY17" fmla="*/ 1289154 h 3174167"/>
                  <a:gd name="connsiteX18" fmla="*/ 1588072 w 4388370"/>
                  <a:gd name="connsiteY18" fmla="*/ 1289154 h 3174167"/>
                  <a:gd name="connsiteX19" fmla="*/ 1584897 w 4388370"/>
                  <a:gd name="connsiteY19" fmla="*/ 1435308 h 3174167"/>
                  <a:gd name="connsiteX20" fmla="*/ 1948721 w 4388370"/>
                  <a:gd name="connsiteY20" fmla="*/ 1435308 h 3174167"/>
                  <a:gd name="connsiteX21" fmla="*/ 1948721 w 4388370"/>
                  <a:gd name="connsiteY21" fmla="*/ 1600200 h 3174167"/>
                  <a:gd name="connsiteX22" fmla="*/ 2315980 w 4388370"/>
                  <a:gd name="connsiteY22" fmla="*/ 1600200 h 3174167"/>
                  <a:gd name="connsiteX23" fmla="*/ 2315980 w 4388370"/>
                  <a:gd name="connsiteY23" fmla="*/ 1795072 h 3174167"/>
                  <a:gd name="connsiteX24" fmla="*/ 2597046 w 4388370"/>
                  <a:gd name="connsiteY24" fmla="*/ 1795072 h 3174167"/>
                  <a:gd name="connsiteX25" fmla="*/ 2597046 w 4388370"/>
                  <a:gd name="connsiteY25" fmla="*/ 2001187 h 3174167"/>
                  <a:gd name="connsiteX26" fmla="*/ 3710065 w 4388370"/>
                  <a:gd name="connsiteY26" fmla="*/ 2001187 h 3174167"/>
                  <a:gd name="connsiteX27" fmla="*/ 3710065 w 4388370"/>
                  <a:gd name="connsiteY27" fmla="*/ 2387183 h 3174167"/>
                  <a:gd name="connsiteX28" fmla="*/ 4388370 w 4388370"/>
                  <a:gd name="connsiteY28" fmla="*/ 2387183 h 3174167"/>
                  <a:gd name="connsiteX29" fmla="*/ 4388370 w 4388370"/>
                  <a:gd name="connsiteY29" fmla="*/ 3174167 h 31741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388370" h="3174167">
                    <a:moveTo>
                      <a:pt x="0" y="0"/>
                    </a:moveTo>
                    <a:lnTo>
                      <a:pt x="400987" y="0"/>
                    </a:lnTo>
                    <a:lnTo>
                      <a:pt x="400987" y="168639"/>
                    </a:lnTo>
                    <a:lnTo>
                      <a:pt x="678305" y="168639"/>
                    </a:lnTo>
                    <a:lnTo>
                      <a:pt x="678305" y="333531"/>
                    </a:lnTo>
                    <a:lnTo>
                      <a:pt x="699905" y="330356"/>
                    </a:lnTo>
                    <a:cubicBezTo>
                      <a:pt x="700963" y="384071"/>
                      <a:pt x="702022" y="437785"/>
                      <a:pt x="703080" y="491500"/>
                    </a:cubicBezTo>
                    <a:lnTo>
                      <a:pt x="779488" y="494675"/>
                    </a:lnTo>
                    <a:lnTo>
                      <a:pt x="779488" y="644577"/>
                    </a:lnTo>
                    <a:lnTo>
                      <a:pt x="936885" y="644577"/>
                    </a:lnTo>
                    <a:lnTo>
                      <a:pt x="936885" y="801973"/>
                    </a:lnTo>
                    <a:lnTo>
                      <a:pt x="1191718" y="801973"/>
                    </a:lnTo>
                    <a:lnTo>
                      <a:pt x="1191718" y="966865"/>
                    </a:lnTo>
                    <a:lnTo>
                      <a:pt x="1412823" y="966865"/>
                    </a:lnTo>
                    <a:lnTo>
                      <a:pt x="1412823" y="1131757"/>
                    </a:lnTo>
                    <a:lnTo>
                      <a:pt x="1566472" y="1131757"/>
                    </a:lnTo>
                    <a:lnTo>
                      <a:pt x="1566472" y="1289154"/>
                    </a:lnTo>
                    <a:lnTo>
                      <a:pt x="1566472" y="1289154"/>
                    </a:lnTo>
                    <a:lnTo>
                      <a:pt x="1588072" y="1289154"/>
                    </a:lnTo>
                    <a:cubicBezTo>
                      <a:pt x="1587014" y="1337872"/>
                      <a:pt x="1585955" y="1386590"/>
                      <a:pt x="1584897" y="1435308"/>
                    </a:cubicBezTo>
                    <a:lnTo>
                      <a:pt x="1948721" y="1435308"/>
                    </a:lnTo>
                    <a:lnTo>
                      <a:pt x="1948721" y="1600200"/>
                    </a:lnTo>
                    <a:lnTo>
                      <a:pt x="2315980" y="1600200"/>
                    </a:lnTo>
                    <a:lnTo>
                      <a:pt x="2315980" y="1795072"/>
                    </a:lnTo>
                    <a:lnTo>
                      <a:pt x="2597046" y="1795072"/>
                    </a:lnTo>
                    <a:lnTo>
                      <a:pt x="2597046" y="2001187"/>
                    </a:lnTo>
                    <a:lnTo>
                      <a:pt x="3710065" y="2001187"/>
                    </a:lnTo>
                    <a:lnTo>
                      <a:pt x="3710065" y="2387183"/>
                    </a:lnTo>
                    <a:lnTo>
                      <a:pt x="4388370" y="2387183"/>
                    </a:lnTo>
                    <a:lnTo>
                      <a:pt x="4388370" y="3174167"/>
                    </a:lnTo>
                  </a:path>
                </a:pathLst>
              </a:custGeom>
              <a:noFill/>
              <a:ln w="25400"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615" name="Group 614">
                <a:extLst>
                  <a:ext uri="{FF2B5EF4-FFF2-40B4-BE49-F238E27FC236}">
                    <a16:creationId xmlns:a16="http://schemas.microsoft.com/office/drawing/2014/main" id="{025CC996-111C-A8F9-8E8C-EA7A0B181854}"/>
                  </a:ext>
                </a:extLst>
              </p:cNvPr>
              <p:cNvGrpSpPr/>
              <p:nvPr/>
            </p:nvGrpSpPr>
            <p:grpSpPr>
              <a:xfrm>
                <a:off x="3585646" y="3079290"/>
                <a:ext cx="1754704" cy="879935"/>
                <a:chOff x="3585646" y="3079290"/>
                <a:chExt cx="1754704" cy="879935"/>
              </a:xfrm>
            </p:grpSpPr>
            <p:cxnSp>
              <p:nvCxnSpPr>
                <p:cNvPr id="616" name="Straight Connector 615">
                  <a:extLst>
                    <a:ext uri="{FF2B5EF4-FFF2-40B4-BE49-F238E27FC236}">
                      <a16:creationId xmlns:a16="http://schemas.microsoft.com/office/drawing/2014/main" id="{3234B0FE-647F-C5A5-CD99-EB6502E709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85646" y="3079290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7" name="Straight Connector 616">
                  <a:extLst>
                    <a:ext uri="{FF2B5EF4-FFF2-40B4-BE49-F238E27FC236}">
                      <a16:creationId xmlns:a16="http://schemas.microsoft.com/office/drawing/2014/main" id="{71DBE5FC-20D7-DE4B-894F-CC5AF7295D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695700" y="3079290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8" name="Straight Connector 617">
                  <a:extLst>
                    <a:ext uri="{FF2B5EF4-FFF2-40B4-BE49-F238E27FC236}">
                      <a16:creationId xmlns:a16="http://schemas.microsoft.com/office/drawing/2014/main" id="{4EBA4794-566B-5C00-A89C-3C9FA8A65E7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60875" y="347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9" name="Straight Connector 618">
                  <a:extLst>
                    <a:ext uri="{FF2B5EF4-FFF2-40B4-BE49-F238E27FC236}">
                      <a16:creationId xmlns:a16="http://schemas.microsoft.com/office/drawing/2014/main" id="{54447D69-3F12-5A4D-140A-F74550B8715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810125" y="347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0" name="Straight Connector 619">
                  <a:extLst>
                    <a:ext uri="{FF2B5EF4-FFF2-40B4-BE49-F238E27FC236}">
                      <a16:creationId xmlns:a16="http://schemas.microsoft.com/office/drawing/2014/main" id="{9E83DFA2-E7AD-BADD-0C76-615DEB1DBFC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848225" y="347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21" name="Straight Connector 620">
                  <a:extLst>
                    <a:ext uri="{FF2B5EF4-FFF2-40B4-BE49-F238E27FC236}">
                      <a16:creationId xmlns:a16="http://schemas.microsoft.com/office/drawing/2014/main" id="{E3E0FC23-E934-06E7-5433-2EA891E4599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340350" y="38703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bg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63" name="Group 462">
              <a:extLst>
                <a:ext uri="{FF2B5EF4-FFF2-40B4-BE49-F238E27FC236}">
                  <a16:creationId xmlns:a16="http://schemas.microsoft.com/office/drawing/2014/main" id="{F10F8878-E4D5-7745-3465-83FA79A1D719}"/>
                </a:ext>
              </a:extLst>
            </p:cNvPr>
            <p:cNvGrpSpPr/>
            <p:nvPr/>
          </p:nvGrpSpPr>
          <p:grpSpPr>
            <a:xfrm>
              <a:off x="1448353" y="1520970"/>
              <a:ext cx="5787278" cy="1544910"/>
              <a:chOff x="1439056" y="1522921"/>
              <a:chExt cx="5902377" cy="1560004"/>
            </a:xfrm>
          </p:grpSpPr>
          <p:sp>
            <p:nvSpPr>
              <p:cNvPr id="577" name="Freeform 915">
                <a:extLst>
                  <a:ext uri="{FF2B5EF4-FFF2-40B4-BE49-F238E27FC236}">
                    <a16:creationId xmlns:a16="http://schemas.microsoft.com/office/drawing/2014/main" id="{CF51A7B5-B4E9-7F9C-8565-54273D71664E}"/>
                  </a:ext>
                </a:extLst>
              </p:cNvPr>
              <p:cNvSpPr/>
              <p:nvPr/>
            </p:nvSpPr>
            <p:spPr>
              <a:xfrm>
                <a:off x="1439056" y="1522921"/>
                <a:ext cx="5902377" cy="1514007"/>
              </a:xfrm>
              <a:custGeom>
                <a:avLst/>
                <a:gdLst>
                  <a:gd name="connsiteX0" fmla="*/ 0 w 5902377"/>
                  <a:gd name="connsiteY0" fmla="*/ 0 h 1514007"/>
                  <a:gd name="connsiteX1" fmla="*/ 985603 w 5902377"/>
                  <a:gd name="connsiteY1" fmla="*/ 0 h 1514007"/>
                  <a:gd name="connsiteX2" fmla="*/ 985603 w 5902377"/>
                  <a:gd name="connsiteY2" fmla="*/ 74951 h 1514007"/>
                  <a:gd name="connsiteX3" fmla="*/ 1217951 w 5902377"/>
                  <a:gd name="connsiteY3" fmla="*/ 74951 h 1514007"/>
                  <a:gd name="connsiteX4" fmla="*/ 1217951 w 5902377"/>
                  <a:gd name="connsiteY4" fmla="*/ 134912 h 1514007"/>
                  <a:gd name="connsiteX5" fmla="*/ 1255426 w 5902377"/>
                  <a:gd name="connsiteY5" fmla="*/ 134912 h 1514007"/>
                  <a:gd name="connsiteX6" fmla="*/ 1255426 w 5902377"/>
                  <a:gd name="connsiteY6" fmla="*/ 198620 h 1514007"/>
                  <a:gd name="connsiteX7" fmla="*/ 1390337 w 5902377"/>
                  <a:gd name="connsiteY7" fmla="*/ 198620 h 1514007"/>
                  <a:gd name="connsiteX8" fmla="*/ 1390337 w 5902377"/>
                  <a:gd name="connsiteY8" fmla="*/ 262328 h 1514007"/>
                  <a:gd name="connsiteX9" fmla="*/ 1454046 w 5902377"/>
                  <a:gd name="connsiteY9" fmla="*/ 262328 h 1514007"/>
                  <a:gd name="connsiteX10" fmla="*/ 1454046 w 5902377"/>
                  <a:gd name="connsiteY10" fmla="*/ 326036 h 1514007"/>
                  <a:gd name="connsiteX11" fmla="*/ 2027419 w 5902377"/>
                  <a:gd name="connsiteY11" fmla="*/ 326036 h 1514007"/>
                  <a:gd name="connsiteX12" fmla="*/ 2027419 w 5902377"/>
                  <a:gd name="connsiteY12" fmla="*/ 385997 h 1514007"/>
                  <a:gd name="connsiteX13" fmla="*/ 2053652 w 5902377"/>
                  <a:gd name="connsiteY13" fmla="*/ 385997 h 1514007"/>
                  <a:gd name="connsiteX14" fmla="*/ 2053652 w 5902377"/>
                  <a:gd name="connsiteY14" fmla="*/ 445958 h 1514007"/>
                  <a:gd name="connsiteX15" fmla="*/ 2151088 w 5902377"/>
                  <a:gd name="connsiteY15" fmla="*/ 445958 h 1514007"/>
                  <a:gd name="connsiteX16" fmla="*/ 2151088 w 5902377"/>
                  <a:gd name="connsiteY16" fmla="*/ 513413 h 1514007"/>
                  <a:gd name="connsiteX17" fmla="*/ 2286000 w 5902377"/>
                  <a:gd name="connsiteY17" fmla="*/ 513413 h 1514007"/>
                  <a:gd name="connsiteX18" fmla="*/ 2286000 w 5902377"/>
                  <a:gd name="connsiteY18" fmla="*/ 580869 h 1514007"/>
                  <a:gd name="connsiteX19" fmla="*/ 2525842 w 5902377"/>
                  <a:gd name="connsiteY19" fmla="*/ 580869 h 1514007"/>
                  <a:gd name="connsiteX20" fmla="*/ 2525842 w 5902377"/>
                  <a:gd name="connsiteY20" fmla="*/ 655820 h 1514007"/>
                  <a:gd name="connsiteX21" fmla="*/ 2709472 w 5902377"/>
                  <a:gd name="connsiteY21" fmla="*/ 655820 h 1514007"/>
                  <a:gd name="connsiteX22" fmla="*/ 2709472 w 5902377"/>
                  <a:gd name="connsiteY22" fmla="*/ 723276 h 1514007"/>
                  <a:gd name="connsiteX23" fmla="*/ 2953062 w 5902377"/>
                  <a:gd name="connsiteY23" fmla="*/ 723276 h 1514007"/>
                  <a:gd name="connsiteX24" fmla="*/ 2953062 w 5902377"/>
                  <a:gd name="connsiteY24" fmla="*/ 809469 h 1514007"/>
                  <a:gd name="connsiteX25" fmla="*/ 3020518 w 5902377"/>
                  <a:gd name="connsiteY25" fmla="*/ 809469 h 1514007"/>
                  <a:gd name="connsiteX26" fmla="*/ 3020518 w 5902377"/>
                  <a:gd name="connsiteY26" fmla="*/ 899410 h 1514007"/>
                  <a:gd name="connsiteX27" fmla="*/ 3129196 w 5902377"/>
                  <a:gd name="connsiteY27" fmla="*/ 899410 h 1514007"/>
                  <a:gd name="connsiteX28" fmla="*/ 3129196 w 5902377"/>
                  <a:gd name="connsiteY28" fmla="*/ 1083040 h 1514007"/>
                  <a:gd name="connsiteX29" fmla="*/ 3541426 w 5902377"/>
                  <a:gd name="connsiteY29" fmla="*/ 1083040 h 1514007"/>
                  <a:gd name="connsiteX30" fmla="*/ 3541426 w 5902377"/>
                  <a:gd name="connsiteY30" fmla="*/ 1169233 h 1514007"/>
                  <a:gd name="connsiteX31" fmla="*/ 3582649 w 5902377"/>
                  <a:gd name="connsiteY31" fmla="*/ 1169233 h 1514007"/>
                  <a:gd name="connsiteX32" fmla="*/ 3582649 w 5902377"/>
                  <a:gd name="connsiteY32" fmla="*/ 1274164 h 1514007"/>
                  <a:gd name="connsiteX33" fmla="*/ 5085413 w 5902377"/>
                  <a:gd name="connsiteY33" fmla="*/ 1274164 h 1514007"/>
                  <a:gd name="connsiteX34" fmla="*/ 5085413 w 5902377"/>
                  <a:gd name="connsiteY34" fmla="*/ 1514007 h 1514007"/>
                  <a:gd name="connsiteX35" fmla="*/ 5902377 w 5902377"/>
                  <a:gd name="connsiteY35" fmla="*/ 1514007 h 1514007"/>
                  <a:gd name="connsiteX0" fmla="*/ 0 w 5902377"/>
                  <a:gd name="connsiteY0" fmla="*/ 0 h 1514007"/>
                  <a:gd name="connsiteX1" fmla="*/ 985603 w 5902377"/>
                  <a:gd name="connsiteY1" fmla="*/ 0 h 1514007"/>
                  <a:gd name="connsiteX2" fmla="*/ 985603 w 5902377"/>
                  <a:gd name="connsiteY2" fmla="*/ 74951 h 1514007"/>
                  <a:gd name="connsiteX3" fmla="*/ 1217951 w 5902377"/>
                  <a:gd name="connsiteY3" fmla="*/ 74951 h 1514007"/>
                  <a:gd name="connsiteX4" fmla="*/ 1217951 w 5902377"/>
                  <a:gd name="connsiteY4" fmla="*/ 134912 h 1514007"/>
                  <a:gd name="connsiteX5" fmla="*/ 1255426 w 5902377"/>
                  <a:gd name="connsiteY5" fmla="*/ 134912 h 1514007"/>
                  <a:gd name="connsiteX6" fmla="*/ 1255426 w 5902377"/>
                  <a:gd name="connsiteY6" fmla="*/ 198620 h 1514007"/>
                  <a:gd name="connsiteX7" fmla="*/ 1390337 w 5902377"/>
                  <a:gd name="connsiteY7" fmla="*/ 198620 h 1514007"/>
                  <a:gd name="connsiteX8" fmla="*/ 1390337 w 5902377"/>
                  <a:gd name="connsiteY8" fmla="*/ 262328 h 1514007"/>
                  <a:gd name="connsiteX9" fmla="*/ 1454046 w 5902377"/>
                  <a:gd name="connsiteY9" fmla="*/ 262328 h 1514007"/>
                  <a:gd name="connsiteX10" fmla="*/ 1454046 w 5902377"/>
                  <a:gd name="connsiteY10" fmla="*/ 326036 h 1514007"/>
                  <a:gd name="connsiteX11" fmla="*/ 2027419 w 5902377"/>
                  <a:gd name="connsiteY11" fmla="*/ 326036 h 1514007"/>
                  <a:gd name="connsiteX12" fmla="*/ 2027419 w 5902377"/>
                  <a:gd name="connsiteY12" fmla="*/ 385997 h 1514007"/>
                  <a:gd name="connsiteX13" fmla="*/ 2053652 w 5902377"/>
                  <a:gd name="connsiteY13" fmla="*/ 385997 h 1514007"/>
                  <a:gd name="connsiteX14" fmla="*/ 2053652 w 5902377"/>
                  <a:gd name="connsiteY14" fmla="*/ 445958 h 1514007"/>
                  <a:gd name="connsiteX15" fmla="*/ 2151088 w 5902377"/>
                  <a:gd name="connsiteY15" fmla="*/ 445958 h 1514007"/>
                  <a:gd name="connsiteX16" fmla="*/ 2151088 w 5902377"/>
                  <a:gd name="connsiteY16" fmla="*/ 513413 h 1514007"/>
                  <a:gd name="connsiteX17" fmla="*/ 2286000 w 5902377"/>
                  <a:gd name="connsiteY17" fmla="*/ 513413 h 1514007"/>
                  <a:gd name="connsiteX18" fmla="*/ 2286000 w 5902377"/>
                  <a:gd name="connsiteY18" fmla="*/ 580869 h 1514007"/>
                  <a:gd name="connsiteX19" fmla="*/ 2525842 w 5902377"/>
                  <a:gd name="connsiteY19" fmla="*/ 580869 h 1514007"/>
                  <a:gd name="connsiteX20" fmla="*/ 2525842 w 5902377"/>
                  <a:gd name="connsiteY20" fmla="*/ 655820 h 1514007"/>
                  <a:gd name="connsiteX21" fmla="*/ 2709472 w 5902377"/>
                  <a:gd name="connsiteY21" fmla="*/ 655820 h 1514007"/>
                  <a:gd name="connsiteX22" fmla="*/ 2709472 w 5902377"/>
                  <a:gd name="connsiteY22" fmla="*/ 723276 h 1514007"/>
                  <a:gd name="connsiteX23" fmla="*/ 2953062 w 5902377"/>
                  <a:gd name="connsiteY23" fmla="*/ 723276 h 1514007"/>
                  <a:gd name="connsiteX24" fmla="*/ 2953062 w 5902377"/>
                  <a:gd name="connsiteY24" fmla="*/ 809469 h 1514007"/>
                  <a:gd name="connsiteX25" fmla="*/ 3020518 w 5902377"/>
                  <a:gd name="connsiteY25" fmla="*/ 809469 h 1514007"/>
                  <a:gd name="connsiteX26" fmla="*/ 3020518 w 5902377"/>
                  <a:gd name="connsiteY26" fmla="*/ 899410 h 1514007"/>
                  <a:gd name="connsiteX27" fmla="*/ 3129196 w 5902377"/>
                  <a:gd name="connsiteY27" fmla="*/ 899410 h 1514007"/>
                  <a:gd name="connsiteX28" fmla="*/ 3129196 w 5902377"/>
                  <a:gd name="connsiteY28" fmla="*/ 1083040 h 1514007"/>
                  <a:gd name="connsiteX29" fmla="*/ 3541426 w 5902377"/>
                  <a:gd name="connsiteY29" fmla="*/ 1083040 h 1514007"/>
                  <a:gd name="connsiteX30" fmla="*/ 3541426 w 5902377"/>
                  <a:gd name="connsiteY30" fmla="*/ 1169233 h 1514007"/>
                  <a:gd name="connsiteX31" fmla="*/ 3571407 w 5902377"/>
                  <a:gd name="connsiteY31" fmla="*/ 1165485 h 1514007"/>
                  <a:gd name="connsiteX32" fmla="*/ 3582649 w 5902377"/>
                  <a:gd name="connsiteY32" fmla="*/ 1274164 h 1514007"/>
                  <a:gd name="connsiteX33" fmla="*/ 5085413 w 5902377"/>
                  <a:gd name="connsiteY33" fmla="*/ 1274164 h 1514007"/>
                  <a:gd name="connsiteX34" fmla="*/ 5085413 w 5902377"/>
                  <a:gd name="connsiteY34" fmla="*/ 1514007 h 1514007"/>
                  <a:gd name="connsiteX35" fmla="*/ 5902377 w 5902377"/>
                  <a:gd name="connsiteY35" fmla="*/ 1514007 h 1514007"/>
                  <a:gd name="connsiteX0" fmla="*/ 0 w 5902377"/>
                  <a:gd name="connsiteY0" fmla="*/ 0 h 1514007"/>
                  <a:gd name="connsiteX1" fmla="*/ 985603 w 5902377"/>
                  <a:gd name="connsiteY1" fmla="*/ 0 h 1514007"/>
                  <a:gd name="connsiteX2" fmla="*/ 985603 w 5902377"/>
                  <a:gd name="connsiteY2" fmla="*/ 74951 h 1514007"/>
                  <a:gd name="connsiteX3" fmla="*/ 1217951 w 5902377"/>
                  <a:gd name="connsiteY3" fmla="*/ 74951 h 1514007"/>
                  <a:gd name="connsiteX4" fmla="*/ 1217951 w 5902377"/>
                  <a:gd name="connsiteY4" fmla="*/ 134912 h 1514007"/>
                  <a:gd name="connsiteX5" fmla="*/ 1255426 w 5902377"/>
                  <a:gd name="connsiteY5" fmla="*/ 134912 h 1514007"/>
                  <a:gd name="connsiteX6" fmla="*/ 1255426 w 5902377"/>
                  <a:gd name="connsiteY6" fmla="*/ 198620 h 1514007"/>
                  <a:gd name="connsiteX7" fmla="*/ 1390337 w 5902377"/>
                  <a:gd name="connsiteY7" fmla="*/ 198620 h 1514007"/>
                  <a:gd name="connsiteX8" fmla="*/ 1390337 w 5902377"/>
                  <a:gd name="connsiteY8" fmla="*/ 262328 h 1514007"/>
                  <a:gd name="connsiteX9" fmla="*/ 1454046 w 5902377"/>
                  <a:gd name="connsiteY9" fmla="*/ 262328 h 1514007"/>
                  <a:gd name="connsiteX10" fmla="*/ 1454046 w 5902377"/>
                  <a:gd name="connsiteY10" fmla="*/ 326036 h 1514007"/>
                  <a:gd name="connsiteX11" fmla="*/ 2027419 w 5902377"/>
                  <a:gd name="connsiteY11" fmla="*/ 326036 h 1514007"/>
                  <a:gd name="connsiteX12" fmla="*/ 2027419 w 5902377"/>
                  <a:gd name="connsiteY12" fmla="*/ 385997 h 1514007"/>
                  <a:gd name="connsiteX13" fmla="*/ 2053652 w 5902377"/>
                  <a:gd name="connsiteY13" fmla="*/ 385997 h 1514007"/>
                  <a:gd name="connsiteX14" fmla="*/ 2053652 w 5902377"/>
                  <a:gd name="connsiteY14" fmla="*/ 445958 h 1514007"/>
                  <a:gd name="connsiteX15" fmla="*/ 2151088 w 5902377"/>
                  <a:gd name="connsiteY15" fmla="*/ 445958 h 1514007"/>
                  <a:gd name="connsiteX16" fmla="*/ 2151088 w 5902377"/>
                  <a:gd name="connsiteY16" fmla="*/ 513413 h 1514007"/>
                  <a:gd name="connsiteX17" fmla="*/ 2286000 w 5902377"/>
                  <a:gd name="connsiteY17" fmla="*/ 513413 h 1514007"/>
                  <a:gd name="connsiteX18" fmla="*/ 2286000 w 5902377"/>
                  <a:gd name="connsiteY18" fmla="*/ 580869 h 1514007"/>
                  <a:gd name="connsiteX19" fmla="*/ 2525842 w 5902377"/>
                  <a:gd name="connsiteY19" fmla="*/ 580869 h 1514007"/>
                  <a:gd name="connsiteX20" fmla="*/ 2525842 w 5902377"/>
                  <a:gd name="connsiteY20" fmla="*/ 655820 h 1514007"/>
                  <a:gd name="connsiteX21" fmla="*/ 2709472 w 5902377"/>
                  <a:gd name="connsiteY21" fmla="*/ 655820 h 1514007"/>
                  <a:gd name="connsiteX22" fmla="*/ 2709472 w 5902377"/>
                  <a:gd name="connsiteY22" fmla="*/ 723276 h 1514007"/>
                  <a:gd name="connsiteX23" fmla="*/ 2953062 w 5902377"/>
                  <a:gd name="connsiteY23" fmla="*/ 723276 h 1514007"/>
                  <a:gd name="connsiteX24" fmla="*/ 2953062 w 5902377"/>
                  <a:gd name="connsiteY24" fmla="*/ 809469 h 1514007"/>
                  <a:gd name="connsiteX25" fmla="*/ 3020518 w 5902377"/>
                  <a:gd name="connsiteY25" fmla="*/ 809469 h 1514007"/>
                  <a:gd name="connsiteX26" fmla="*/ 3020518 w 5902377"/>
                  <a:gd name="connsiteY26" fmla="*/ 899410 h 1514007"/>
                  <a:gd name="connsiteX27" fmla="*/ 3129196 w 5902377"/>
                  <a:gd name="connsiteY27" fmla="*/ 899410 h 1514007"/>
                  <a:gd name="connsiteX28" fmla="*/ 3129196 w 5902377"/>
                  <a:gd name="connsiteY28" fmla="*/ 1083040 h 1514007"/>
                  <a:gd name="connsiteX29" fmla="*/ 3541426 w 5902377"/>
                  <a:gd name="connsiteY29" fmla="*/ 1083040 h 1514007"/>
                  <a:gd name="connsiteX30" fmla="*/ 3541426 w 5902377"/>
                  <a:gd name="connsiteY30" fmla="*/ 1169233 h 1514007"/>
                  <a:gd name="connsiteX31" fmla="*/ 3571407 w 5902377"/>
                  <a:gd name="connsiteY31" fmla="*/ 1165485 h 1514007"/>
                  <a:gd name="connsiteX32" fmla="*/ 3563912 w 5902377"/>
                  <a:gd name="connsiteY32" fmla="*/ 1274164 h 1514007"/>
                  <a:gd name="connsiteX33" fmla="*/ 5085413 w 5902377"/>
                  <a:gd name="connsiteY33" fmla="*/ 1274164 h 1514007"/>
                  <a:gd name="connsiteX34" fmla="*/ 5085413 w 5902377"/>
                  <a:gd name="connsiteY34" fmla="*/ 1514007 h 1514007"/>
                  <a:gd name="connsiteX35" fmla="*/ 5902377 w 5902377"/>
                  <a:gd name="connsiteY35" fmla="*/ 1514007 h 1514007"/>
                  <a:gd name="connsiteX0" fmla="*/ 0 w 5902377"/>
                  <a:gd name="connsiteY0" fmla="*/ 0 h 1514007"/>
                  <a:gd name="connsiteX1" fmla="*/ 985603 w 5902377"/>
                  <a:gd name="connsiteY1" fmla="*/ 0 h 1514007"/>
                  <a:gd name="connsiteX2" fmla="*/ 985603 w 5902377"/>
                  <a:gd name="connsiteY2" fmla="*/ 74951 h 1514007"/>
                  <a:gd name="connsiteX3" fmla="*/ 1217951 w 5902377"/>
                  <a:gd name="connsiteY3" fmla="*/ 74951 h 1514007"/>
                  <a:gd name="connsiteX4" fmla="*/ 1217951 w 5902377"/>
                  <a:gd name="connsiteY4" fmla="*/ 134912 h 1514007"/>
                  <a:gd name="connsiteX5" fmla="*/ 1255426 w 5902377"/>
                  <a:gd name="connsiteY5" fmla="*/ 134912 h 1514007"/>
                  <a:gd name="connsiteX6" fmla="*/ 1255426 w 5902377"/>
                  <a:gd name="connsiteY6" fmla="*/ 198620 h 1514007"/>
                  <a:gd name="connsiteX7" fmla="*/ 1390337 w 5902377"/>
                  <a:gd name="connsiteY7" fmla="*/ 198620 h 1514007"/>
                  <a:gd name="connsiteX8" fmla="*/ 1390337 w 5902377"/>
                  <a:gd name="connsiteY8" fmla="*/ 262328 h 1514007"/>
                  <a:gd name="connsiteX9" fmla="*/ 1454046 w 5902377"/>
                  <a:gd name="connsiteY9" fmla="*/ 262328 h 1514007"/>
                  <a:gd name="connsiteX10" fmla="*/ 1454046 w 5902377"/>
                  <a:gd name="connsiteY10" fmla="*/ 326036 h 1514007"/>
                  <a:gd name="connsiteX11" fmla="*/ 2027419 w 5902377"/>
                  <a:gd name="connsiteY11" fmla="*/ 326036 h 1514007"/>
                  <a:gd name="connsiteX12" fmla="*/ 2027419 w 5902377"/>
                  <a:gd name="connsiteY12" fmla="*/ 385997 h 1514007"/>
                  <a:gd name="connsiteX13" fmla="*/ 2053652 w 5902377"/>
                  <a:gd name="connsiteY13" fmla="*/ 385997 h 1514007"/>
                  <a:gd name="connsiteX14" fmla="*/ 2053652 w 5902377"/>
                  <a:gd name="connsiteY14" fmla="*/ 445958 h 1514007"/>
                  <a:gd name="connsiteX15" fmla="*/ 2151088 w 5902377"/>
                  <a:gd name="connsiteY15" fmla="*/ 445958 h 1514007"/>
                  <a:gd name="connsiteX16" fmla="*/ 2151088 w 5902377"/>
                  <a:gd name="connsiteY16" fmla="*/ 513413 h 1514007"/>
                  <a:gd name="connsiteX17" fmla="*/ 2286000 w 5902377"/>
                  <a:gd name="connsiteY17" fmla="*/ 513413 h 1514007"/>
                  <a:gd name="connsiteX18" fmla="*/ 2286000 w 5902377"/>
                  <a:gd name="connsiteY18" fmla="*/ 580869 h 1514007"/>
                  <a:gd name="connsiteX19" fmla="*/ 2525842 w 5902377"/>
                  <a:gd name="connsiteY19" fmla="*/ 580869 h 1514007"/>
                  <a:gd name="connsiteX20" fmla="*/ 2525842 w 5902377"/>
                  <a:gd name="connsiteY20" fmla="*/ 655820 h 1514007"/>
                  <a:gd name="connsiteX21" fmla="*/ 2709472 w 5902377"/>
                  <a:gd name="connsiteY21" fmla="*/ 655820 h 1514007"/>
                  <a:gd name="connsiteX22" fmla="*/ 2709472 w 5902377"/>
                  <a:gd name="connsiteY22" fmla="*/ 723276 h 1514007"/>
                  <a:gd name="connsiteX23" fmla="*/ 2953062 w 5902377"/>
                  <a:gd name="connsiteY23" fmla="*/ 723276 h 1514007"/>
                  <a:gd name="connsiteX24" fmla="*/ 2953062 w 5902377"/>
                  <a:gd name="connsiteY24" fmla="*/ 809469 h 1514007"/>
                  <a:gd name="connsiteX25" fmla="*/ 3020518 w 5902377"/>
                  <a:gd name="connsiteY25" fmla="*/ 809469 h 1514007"/>
                  <a:gd name="connsiteX26" fmla="*/ 3020518 w 5902377"/>
                  <a:gd name="connsiteY26" fmla="*/ 899410 h 1514007"/>
                  <a:gd name="connsiteX27" fmla="*/ 3129196 w 5902377"/>
                  <a:gd name="connsiteY27" fmla="*/ 899410 h 1514007"/>
                  <a:gd name="connsiteX28" fmla="*/ 3129196 w 5902377"/>
                  <a:gd name="connsiteY28" fmla="*/ 1083040 h 1514007"/>
                  <a:gd name="connsiteX29" fmla="*/ 3541426 w 5902377"/>
                  <a:gd name="connsiteY29" fmla="*/ 1083040 h 1514007"/>
                  <a:gd name="connsiteX30" fmla="*/ 3541426 w 5902377"/>
                  <a:gd name="connsiteY30" fmla="*/ 1169233 h 1514007"/>
                  <a:gd name="connsiteX31" fmla="*/ 3571407 w 5902377"/>
                  <a:gd name="connsiteY31" fmla="*/ 1165485 h 1514007"/>
                  <a:gd name="connsiteX32" fmla="*/ 3567659 w 5902377"/>
                  <a:gd name="connsiteY32" fmla="*/ 1277911 h 1514007"/>
                  <a:gd name="connsiteX33" fmla="*/ 5085413 w 5902377"/>
                  <a:gd name="connsiteY33" fmla="*/ 1274164 h 1514007"/>
                  <a:gd name="connsiteX34" fmla="*/ 5085413 w 5902377"/>
                  <a:gd name="connsiteY34" fmla="*/ 1514007 h 1514007"/>
                  <a:gd name="connsiteX35" fmla="*/ 5902377 w 5902377"/>
                  <a:gd name="connsiteY35" fmla="*/ 1514007 h 1514007"/>
                  <a:gd name="connsiteX0" fmla="*/ 0 w 5902377"/>
                  <a:gd name="connsiteY0" fmla="*/ 0 h 1514007"/>
                  <a:gd name="connsiteX1" fmla="*/ 985603 w 5902377"/>
                  <a:gd name="connsiteY1" fmla="*/ 0 h 1514007"/>
                  <a:gd name="connsiteX2" fmla="*/ 985603 w 5902377"/>
                  <a:gd name="connsiteY2" fmla="*/ 74951 h 1514007"/>
                  <a:gd name="connsiteX3" fmla="*/ 1217951 w 5902377"/>
                  <a:gd name="connsiteY3" fmla="*/ 74951 h 1514007"/>
                  <a:gd name="connsiteX4" fmla="*/ 1217951 w 5902377"/>
                  <a:gd name="connsiteY4" fmla="*/ 134912 h 1514007"/>
                  <a:gd name="connsiteX5" fmla="*/ 1255426 w 5902377"/>
                  <a:gd name="connsiteY5" fmla="*/ 134912 h 1514007"/>
                  <a:gd name="connsiteX6" fmla="*/ 1255426 w 5902377"/>
                  <a:gd name="connsiteY6" fmla="*/ 198620 h 1514007"/>
                  <a:gd name="connsiteX7" fmla="*/ 1390337 w 5902377"/>
                  <a:gd name="connsiteY7" fmla="*/ 198620 h 1514007"/>
                  <a:gd name="connsiteX8" fmla="*/ 1390337 w 5902377"/>
                  <a:gd name="connsiteY8" fmla="*/ 262328 h 1514007"/>
                  <a:gd name="connsiteX9" fmla="*/ 1454046 w 5902377"/>
                  <a:gd name="connsiteY9" fmla="*/ 262328 h 1514007"/>
                  <a:gd name="connsiteX10" fmla="*/ 1454046 w 5902377"/>
                  <a:gd name="connsiteY10" fmla="*/ 326036 h 1514007"/>
                  <a:gd name="connsiteX11" fmla="*/ 2027419 w 5902377"/>
                  <a:gd name="connsiteY11" fmla="*/ 326036 h 1514007"/>
                  <a:gd name="connsiteX12" fmla="*/ 2027419 w 5902377"/>
                  <a:gd name="connsiteY12" fmla="*/ 385997 h 1514007"/>
                  <a:gd name="connsiteX13" fmla="*/ 2053652 w 5902377"/>
                  <a:gd name="connsiteY13" fmla="*/ 385997 h 1514007"/>
                  <a:gd name="connsiteX14" fmla="*/ 2053652 w 5902377"/>
                  <a:gd name="connsiteY14" fmla="*/ 445958 h 1514007"/>
                  <a:gd name="connsiteX15" fmla="*/ 2151088 w 5902377"/>
                  <a:gd name="connsiteY15" fmla="*/ 445958 h 1514007"/>
                  <a:gd name="connsiteX16" fmla="*/ 2151088 w 5902377"/>
                  <a:gd name="connsiteY16" fmla="*/ 513413 h 1514007"/>
                  <a:gd name="connsiteX17" fmla="*/ 2286000 w 5902377"/>
                  <a:gd name="connsiteY17" fmla="*/ 513413 h 1514007"/>
                  <a:gd name="connsiteX18" fmla="*/ 2286000 w 5902377"/>
                  <a:gd name="connsiteY18" fmla="*/ 580869 h 1514007"/>
                  <a:gd name="connsiteX19" fmla="*/ 2525842 w 5902377"/>
                  <a:gd name="connsiteY19" fmla="*/ 580869 h 1514007"/>
                  <a:gd name="connsiteX20" fmla="*/ 2525842 w 5902377"/>
                  <a:gd name="connsiteY20" fmla="*/ 655820 h 1514007"/>
                  <a:gd name="connsiteX21" fmla="*/ 2709472 w 5902377"/>
                  <a:gd name="connsiteY21" fmla="*/ 655820 h 1514007"/>
                  <a:gd name="connsiteX22" fmla="*/ 2709472 w 5902377"/>
                  <a:gd name="connsiteY22" fmla="*/ 723276 h 1514007"/>
                  <a:gd name="connsiteX23" fmla="*/ 2953062 w 5902377"/>
                  <a:gd name="connsiteY23" fmla="*/ 723276 h 1514007"/>
                  <a:gd name="connsiteX24" fmla="*/ 2953062 w 5902377"/>
                  <a:gd name="connsiteY24" fmla="*/ 809469 h 1514007"/>
                  <a:gd name="connsiteX25" fmla="*/ 3020518 w 5902377"/>
                  <a:gd name="connsiteY25" fmla="*/ 809469 h 1514007"/>
                  <a:gd name="connsiteX26" fmla="*/ 3020518 w 5902377"/>
                  <a:gd name="connsiteY26" fmla="*/ 899410 h 1514007"/>
                  <a:gd name="connsiteX27" fmla="*/ 3129196 w 5902377"/>
                  <a:gd name="connsiteY27" fmla="*/ 899410 h 1514007"/>
                  <a:gd name="connsiteX28" fmla="*/ 3129196 w 5902377"/>
                  <a:gd name="connsiteY28" fmla="*/ 1083040 h 1514007"/>
                  <a:gd name="connsiteX29" fmla="*/ 3541426 w 5902377"/>
                  <a:gd name="connsiteY29" fmla="*/ 1083040 h 1514007"/>
                  <a:gd name="connsiteX30" fmla="*/ 3541426 w 5902377"/>
                  <a:gd name="connsiteY30" fmla="*/ 1169233 h 1514007"/>
                  <a:gd name="connsiteX31" fmla="*/ 3567659 w 5902377"/>
                  <a:gd name="connsiteY31" fmla="*/ 1169233 h 1514007"/>
                  <a:gd name="connsiteX32" fmla="*/ 3567659 w 5902377"/>
                  <a:gd name="connsiteY32" fmla="*/ 1277911 h 1514007"/>
                  <a:gd name="connsiteX33" fmla="*/ 5085413 w 5902377"/>
                  <a:gd name="connsiteY33" fmla="*/ 1274164 h 1514007"/>
                  <a:gd name="connsiteX34" fmla="*/ 5085413 w 5902377"/>
                  <a:gd name="connsiteY34" fmla="*/ 1514007 h 1514007"/>
                  <a:gd name="connsiteX35" fmla="*/ 5902377 w 5902377"/>
                  <a:gd name="connsiteY35" fmla="*/ 1514007 h 1514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</a:cxnLst>
                <a:rect l="l" t="t" r="r" b="b"/>
                <a:pathLst>
                  <a:path w="5902377" h="1514007">
                    <a:moveTo>
                      <a:pt x="0" y="0"/>
                    </a:moveTo>
                    <a:lnTo>
                      <a:pt x="985603" y="0"/>
                    </a:lnTo>
                    <a:lnTo>
                      <a:pt x="985603" y="74951"/>
                    </a:lnTo>
                    <a:lnTo>
                      <a:pt x="1217951" y="74951"/>
                    </a:lnTo>
                    <a:lnTo>
                      <a:pt x="1217951" y="134912"/>
                    </a:lnTo>
                    <a:lnTo>
                      <a:pt x="1255426" y="134912"/>
                    </a:lnTo>
                    <a:lnTo>
                      <a:pt x="1255426" y="198620"/>
                    </a:lnTo>
                    <a:lnTo>
                      <a:pt x="1390337" y="198620"/>
                    </a:lnTo>
                    <a:lnTo>
                      <a:pt x="1390337" y="262328"/>
                    </a:lnTo>
                    <a:lnTo>
                      <a:pt x="1454046" y="262328"/>
                    </a:lnTo>
                    <a:lnTo>
                      <a:pt x="1454046" y="326036"/>
                    </a:lnTo>
                    <a:lnTo>
                      <a:pt x="2027419" y="326036"/>
                    </a:lnTo>
                    <a:lnTo>
                      <a:pt x="2027419" y="385997"/>
                    </a:lnTo>
                    <a:lnTo>
                      <a:pt x="2053652" y="385997"/>
                    </a:lnTo>
                    <a:lnTo>
                      <a:pt x="2053652" y="445958"/>
                    </a:lnTo>
                    <a:lnTo>
                      <a:pt x="2151088" y="445958"/>
                    </a:lnTo>
                    <a:lnTo>
                      <a:pt x="2151088" y="513413"/>
                    </a:lnTo>
                    <a:lnTo>
                      <a:pt x="2286000" y="513413"/>
                    </a:lnTo>
                    <a:lnTo>
                      <a:pt x="2286000" y="580869"/>
                    </a:lnTo>
                    <a:lnTo>
                      <a:pt x="2525842" y="580869"/>
                    </a:lnTo>
                    <a:lnTo>
                      <a:pt x="2525842" y="655820"/>
                    </a:lnTo>
                    <a:lnTo>
                      <a:pt x="2709472" y="655820"/>
                    </a:lnTo>
                    <a:lnTo>
                      <a:pt x="2709472" y="723276"/>
                    </a:lnTo>
                    <a:lnTo>
                      <a:pt x="2953062" y="723276"/>
                    </a:lnTo>
                    <a:lnTo>
                      <a:pt x="2953062" y="809469"/>
                    </a:lnTo>
                    <a:lnTo>
                      <a:pt x="3020518" y="809469"/>
                    </a:lnTo>
                    <a:lnTo>
                      <a:pt x="3020518" y="899410"/>
                    </a:lnTo>
                    <a:lnTo>
                      <a:pt x="3129196" y="899410"/>
                    </a:lnTo>
                    <a:lnTo>
                      <a:pt x="3129196" y="1083040"/>
                    </a:lnTo>
                    <a:lnTo>
                      <a:pt x="3541426" y="1083040"/>
                    </a:lnTo>
                    <a:lnTo>
                      <a:pt x="3541426" y="1169233"/>
                    </a:lnTo>
                    <a:lnTo>
                      <a:pt x="3567659" y="1169233"/>
                    </a:lnTo>
                    <a:lnTo>
                      <a:pt x="3567659" y="1277911"/>
                    </a:lnTo>
                    <a:lnTo>
                      <a:pt x="5085413" y="1274164"/>
                    </a:lnTo>
                    <a:lnTo>
                      <a:pt x="5085413" y="1514007"/>
                    </a:lnTo>
                    <a:lnTo>
                      <a:pt x="5902377" y="1514007"/>
                    </a:lnTo>
                  </a:path>
                </a:pathLst>
              </a:custGeom>
              <a:noFill/>
              <a:ln w="254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578" name="Group 577">
                <a:extLst>
                  <a:ext uri="{FF2B5EF4-FFF2-40B4-BE49-F238E27FC236}">
                    <a16:creationId xmlns:a16="http://schemas.microsoft.com/office/drawing/2014/main" id="{86C54643-F298-17F5-8705-90CB40960406}"/>
                  </a:ext>
                </a:extLst>
              </p:cNvPr>
              <p:cNvGrpSpPr/>
              <p:nvPr/>
            </p:nvGrpSpPr>
            <p:grpSpPr>
              <a:xfrm>
                <a:off x="3357046" y="1806115"/>
                <a:ext cx="3958154" cy="1276810"/>
                <a:chOff x="3357046" y="1806115"/>
                <a:chExt cx="3958154" cy="1276810"/>
              </a:xfrm>
            </p:grpSpPr>
            <p:cxnSp>
              <p:nvCxnSpPr>
                <p:cNvPr id="579" name="Straight Connector 578">
                  <a:extLst>
                    <a:ext uri="{FF2B5EF4-FFF2-40B4-BE49-F238E27FC236}">
                      <a16:creationId xmlns:a16="http://schemas.microsoft.com/office/drawing/2014/main" id="{01B5CF8D-A3DA-52B1-6AAD-5519003BFB7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357046" y="180611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0" name="Straight Connector 579">
                  <a:extLst>
                    <a:ext uri="{FF2B5EF4-FFF2-40B4-BE49-F238E27FC236}">
                      <a16:creationId xmlns:a16="http://schemas.microsoft.com/office/drawing/2014/main" id="{9D0E56C0-C222-AFEE-077E-66B5D24180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527425" y="19304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1" name="Straight Connector 580">
                  <a:extLst>
                    <a:ext uri="{FF2B5EF4-FFF2-40B4-BE49-F238E27FC236}">
                      <a16:creationId xmlns:a16="http://schemas.microsoft.com/office/drawing/2014/main" id="{43EC0CB1-B5C2-8A3F-1A93-CCC439E42D4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35400" y="206375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2" name="Straight Connector 581">
                  <a:extLst>
                    <a:ext uri="{FF2B5EF4-FFF2-40B4-BE49-F238E27FC236}">
                      <a16:creationId xmlns:a16="http://schemas.microsoft.com/office/drawing/2014/main" id="{06CA6231-BDD4-46FA-7B61-F7D712356F9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11600" y="206375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3" name="Straight Connector 582">
                  <a:extLst>
                    <a:ext uri="{FF2B5EF4-FFF2-40B4-BE49-F238E27FC236}">
                      <a16:creationId xmlns:a16="http://schemas.microsoft.com/office/drawing/2014/main" id="{A7A87740-3DFD-8A94-57A9-A258C92FAB9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940175" y="206375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4" name="Straight Connector 583">
                  <a:extLst>
                    <a:ext uri="{FF2B5EF4-FFF2-40B4-BE49-F238E27FC236}">
                      <a16:creationId xmlns:a16="http://schemas.microsoft.com/office/drawing/2014/main" id="{5B763DFC-8741-A7CD-7337-15995D4AFCA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38600" y="21336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5" name="Straight Connector 584">
                  <a:extLst>
                    <a:ext uri="{FF2B5EF4-FFF2-40B4-BE49-F238E27FC236}">
                      <a16:creationId xmlns:a16="http://schemas.microsoft.com/office/drawing/2014/main" id="{A22CEB1A-295D-44C6-C851-344834131D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19550" y="21336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6" name="Straight Connector 585">
                  <a:extLst>
                    <a:ext uri="{FF2B5EF4-FFF2-40B4-BE49-F238E27FC236}">
                      <a16:creationId xmlns:a16="http://schemas.microsoft.com/office/drawing/2014/main" id="{4D0797F8-B188-4458-A889-FAE5A970CC0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073525" y="21336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7" name="Straight Connector 586">
                  <a:extLst>
                    <a:ext uri="{FF2B5EF4-FFF2-40B4-BE49-F238E27FC236}">
                      <a16:creationId xmlns:a16="http://schemas.microsoft.com/office/drawing/2014/main" id="{C6853F78-E849-A139-C7F2-73F16A430B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171950" y="220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8" name="Straight Connector 587">
                  <a:extLst>
                    <a:ext uri="{FF2B5EF4-FFF2-40B4-BE49-F238E27FC236}">
                      <a16:creationId xmlns:a16="http://schemas.microsoft.com/office/drawing/2014/main" id="{ED4A582B-43CF-6696-1123-0E13512DF80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279900" y="220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89" name="Straight Connector 588">
                  <a:extLst>
                    <a:ext uri="{FF2B5EF4-FFF2-40B4-BE49-F238E27FC236}">
                      <a16:creationId xmlns:a16="http://schemas.microsoft.com/office/drawing/2014/main" id="{5D6E166A-1A66-3DB3-0CD7-6CB5DA44471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302125" y="22098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0" name="Straight Connector 589">
                  <a:extLst>
                    <a:ext uri="{FF2B5EF4-FFF2-40B4-BE49-F238E27FC236}">
                      <a16:creationId xmlns:a16="http://schemas.microsoft.com/office/drawing/2014/main" id="{201212E5-FD3C-4AC0-51A9-2E65D922E0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581525" y="25622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1" name="Straight Connector 590">
                  <a:extLst>
                    <a:ext uri="{FF2B5EF4-FFF2-40B4-BE49-F238E27FC236}">
                      <a16:creationId xmlns:a16="http://schemas.microsoft.com/office/drawing/2014/main" id="{708FCF25-40DC-A50B-852E-AFB2EF25C07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708525" y="25622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2" name="Straight Connector 591">
                  <a:extLst>
                    <a:ext uri="{FF2B5EF4-FFF2-40B4-BE49-F238E27FC236}">
                      <a16:creationId xmlns:a16="http://schemas.microsoft.com/office/drawing/2014/main" id="{9DF1D7A7-B82B-281A-44BD-2C806E2CA11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01015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3" name="Straight Connector 592">
                  <a:extLst>
                    <a:ext uri="{FF2B5EF4-FFF2-40B4-BE49-F238E27FC236}">
                      <a16:creationId xmlns:a16="http://schemas.microsoft.com/office/drawing/2014/main" id="{C9BD792F-E391-B034-C082-6BEB8D4F97F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0065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4" name="Straight Connector 593">
                  <a:extLst>
                    <a:ext uri="{FF2B5EF4-FFF2-40B4-BE49-F238E27FC236}">
                      <a16:creationId xmlns:a16="http://schemas.microsoft.com/office/drawing/2014/main" id="{D04F76BC-3B0A-E91C-95A1-46756C06ADE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29590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5" name="Straight Connector 594">
                  <a:extLst>
                    <a:ext uri="{FF2B5EF4-FFF2-40B4-BE49-F238E27FC236}">
                      <a16:creationId xmlns:a16="http://schemas.microsoft.com/office/drawing/2014/main" id="{088E9F80-81DE-F49C-C024-97AA04BC78B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495925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6" name="Straight Connector 595">
                  <a:extLst>
                    <a:ext uri="{FF2B5EF4-FFF2-40B4-BE49-F238E27FC236}">
                      <a16:creationId xmlns:a16="http://schemas.microsoft.com/office/drawing/2014/main" id="{4699F1CA-DFB7-C30D-10CE-2F603E8BED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62610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7" name="Straight Connector 596">
                  <a:extLst>
                    <a:ext uri="{FF2B5EF4-FFF2-40B4-BE49-F238E27FC236}">
                      <a16:creationId xmlns:a16="http://schemas.microsoft.com/office/drawing/2014/main" id="{69300117-EAF4-BF66-462E-EDB0D953130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730875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8" name="Straight Connector 597">
                  <a:extLst>
                    <a:ext uri="{FF2B5EF4-FFF2-40B4-BE49-F238E27FC236}">
                      <a16:creationId xmlns:a16="http://schemas.microsoft.com/office/drawing/2014/main" id="{DFD6BF0D-FC90-7333-E2C9-3F7AD7E089A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4205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99" name="Straight Connector 598">
                  <a:extLst>
                    <a:ext uri="{FF2B5EF4-FFF2-40B4-BE49-F238E27FC236}">
                      <a16:creationId xmlns:a16="http://schemas.microsoft.com/office/drawing/2014/main" id="{68B4C510-5B37-43A0-4F1B-C30EC5C75AE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21030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0" name="Straight Connector 599">
                  <a:extLst>
                    <a:ext uri="{FF2B5EF4-FFF2-40B4-BE49-F238E27FC236}">
                      <a16:creationId xmlns:a16="http://schemas.microsoft.com/office/drawing/2014/main" id="{3D93772A-B55D-A17E-3168-BA071D9C829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02375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1" name="Straight Connector 600">
                  <a:extLst>
                    <a:ext uri="{FF2B5EF4-FFF2-40B4-BE49-F238E27FC236}">
                      <a16:creationId xmlns:a16="http://schemas.microsoft.com/office/drawing/2014/main" id="{74D2E825-740C-7FD8-1614-E11BAE5A572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24600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2" name="Straight Connector 601">
                  <a:extLst>
                    <a:ext uri="{FF2B5EF4-FFF2-40B4-BE49-F238E27FC236}">
                      <a16:creationId xmlns:a16="http://schemas.microsoft.com/office/drawing/2014/main" id="{05089754-308F-1B1E-2C8A-DF654C3B245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397625" y="275590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3" name="Straight Connector 602">
                  <a:extLst>
                    <a:ext uri="{FF2B5EF4-FFF2-40B4-BE49-F238E27FC236}">
                      <a16:creationId xmlns:a16="http://schemas.microsoft.com/office/drawing/2014/main" id="{9543B819-AE27-424D-215F-5F347124119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594475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4" name="Straight Connector 603">
                  <a:extLst>
                    <a:ext uri="{FF2B5EF4-FFF2-40B4-BE49-F238E27FC236}">
                      <a16:creationId xmlns:a16="http://schemas.microsoft.com/office/drawing/2014/main" id="{95ECE85D-31B0-E338-1799-620E491900F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629400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5" name="Straight Connector 604">
                  <a:extLst>
                    <a:ext uri="{FF2B5EF4-FFF2-40B4-BE49-F238E27FC236}">
                      <a16:creationId xmlns:a16="http://schemas.microsoft.com/office/drawing/2014/main" id="{5C365C24-AE14-7564-708A-7520660A66F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734175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6" name="Straight Connector 605">
                  <a:extLst>
                    <a:ext uri="{FF2B5EF4-FFF2-40B4-BE49-F238E27FC236}">
                      <a16:creationId xmlns:a16="http://schemas.microsoft.com/office/drawing/2014/main" id="{04855D31-5B59-B806-3789-348D6DC1E2A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772275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7" name="Straight Connector 606">
                  <a:extLst>
                    <a:ext uri="{FF2B5EF4-FFF2-40B4-BE49-F238E27FC236}">
                      <a16:creationId xmlns:a16="http://schemas.microsoft.com/office/drawing/2014/main" id="{75E19C60-8B48-FD43-6861-4BB8428775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6819900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8" name="Straight Connector 607">
                  <a:extLst>
                    <a:ext uri="{FF2B5EF4-FFF2-40B4-BE49-F238E27FC236}">
                      <a16:creationId xmlns:a16="http://schemas.microsoft.com/office/drawing/2014/main" id="{B2BD081E-4D35-B4DC-6BCC-C102B3B309F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315200" y="2994025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09" name="Straight Connector 608">
                  <a:extLst>
                    <a:ext uri="{FF2B5EF4-FFF2-40B4-BE49-F238E27FC236}">
                      <a16:creationId xmlns:a16="http://schemas.microsoft.com/office/drawing/2014/main" id="{85FFBE81-3501-553E-1463-963A34AC38E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4457700" y="2381250"/>
                  <a:ext cx="0" cy="8890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0" name="Straight Connector 609">
                  <a:extLst>
                    <a:ext uri="{FF2B5EF4-FFF2-40B4-BE49-F238E27FC236}">
                      <a16:creationId xmlns:a16="http://schemas.microsoft.com/office/drawing/2014/main" id="{52344575-ECA9-90B0-66B9-C7A22B70D6C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413250" y="2425700"/>
                  <a:ext cx="88900" cy="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1" name="Straight Connector 610">
                  <a:extLst>
                    <a:ext uri="{FF2B5EF4-FFF2-40B4-BE49-F238E27FC236}">
                      <a16:creationId xmlns:a16="http://schemas.microsoft.com/office/drawing/2014/main" id="{82234826-92CE-AB48-7E98-6C83A3522E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965700" y="2803525"/>
                  <a:ext cx="88900" cy="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2" name="Straight Connector 611">
                  <a:extLst>
                    <a:ext uri="{FF2B5EF4-FFF2-40B4-BE49-F238E27FC236}">
                      <a16:creationId xmlns:a16="http://schemas.microsoft.com/office/drawing/2014/main" id="{AA297FC8-1517-DAF8-D953-AB02E93E465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3886200" y="2111375"/>
                  <a:ext cx="88900" cy="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13" name="Straight Connector 612">
                  <a:extLst>
                    <a:ext uri="{FF2B5EF4-FFF2-40B4-BE49-F238E27FC236}">
                      <a16:creationId xmlns:a16="http://schemas.microsoft.com/office/drawing/2014/main" id="{D6CDCED0-141F-682B-39B5-014133303D5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4537075" y="2609850"/>
                  <a:ext cx="88900" cy="0"/>
                </a:xfrm>
                <a:prstGeom prst="line">
                  <a:avLst/>
                </a:prstGeom>
                <a:ln w="19050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64" name="Group 463">
              <a:extLst>
                <a:ext uri="{FF2B5EF4-FFF2-40B4-BE49-F238E27FC236}">
                  <a16:creationId xmlns:a16="http://schemas.microsoft.com/office/drawing/2014/main" id="{0E16BBE1-8960-1356-3E62-DB7989DF877D}"/>
                </a:ext>
              </a:extLst>
            </p:cNvPr>
            <p:cNvGrpSpPr/>
            <p:nvPr/>
          </p:nvGrpSpPr>
          <p:grpSpPr>
            <a:xfrm>
              <a:off x="1485129" y="1530023"/>
              <a:ext cx="3145892" cy="3143458"/>
              <a:chOff x="1466849" y="1541679"/>
              <a:chExt cx="3208459" cy="3174167"/>
            </a:xfrm>
          </p:grpSpPr>
          <p:sp>
            <p:nvSpPr>
              <p:cNvPr id="544" name="Freeform 882">
                <a:extLst>
                  <a:ext uri="{FF2B5EF4-FFF2-40B4-BE49-F238E27FC236}">
                    <a16:creationId xmlns:a16="http://schemas.microsoft.com/office/drawing/2014/main" id="{091DEB33-737B-2997-A37B-CFC4D1A7648D}"/>
                  </a:ext>
                </a:extLst>
              </p:cNvPr>
              <p:cNvSpPr/>
              <p:nvPr/>
            </p:nvSpPr>
            <p:spPr>
              <a:xfrm>
                <a:off x="1466849" y="1541679"/>
                <a:ext cx="3208459" cy="3174167"/>
              </a:xfrm>
              <a:custGeom>
                <a:avLst/>
                <a:gdLst>
                  <a:gd name="connsiteX0" fmla="*/ 8467 w 8788400"/>
                  <a:gd name="connsiteY0" fmla="*/ 0 h 4741333"/>
                  <a:gd name="connsiteX1" fmla="*/ 8467 w 8788400"/>
                  <a:gd name="connsiteY1" fmla="*/ 0 h 4741333"/>
                  <a:gd name="connsiteX2" fmla="*/ 0 w 8788400"/>
                  <a:gd name="connsiteY2" fmla="*/ 50800 h 4741333"/>
                  <a:gd name="connsiteX3" fmla="*/ 105833 w 8788400"/>
                  <a:gd name="connsiteY3" fmla="*/ 50800 h 4741333"/>
                  <a:gd name="connsiteX4" fmla="*/ 105833 w 8788400"/>
                  <a:gd name="connsiteY4" fmla="*/ 131233 h 4741333"/>
                  <a:gd name="connsiteX5" fmla="*/ 156633 w 8788400"/>
                  <a:gd name="connsiteY5" fmla="*/ 131233 h 4741333"/>
                  <a:gd name="connsiteX6" fmla="*/ 156633 w 8788400"/>
                  <a:gd name="connsiteY6" fmla="*/ 203200 h 4741333"/>
                  <a:gd name="connsiteX7" fmla="*/ 194733 w 8788400"/>
                  <a:gd name="connsiteY7" fmla="*/ 203200 h 4741333"/>
                  <a:gd name="connsiteX8" fmla="*/ 194733 w 8788400"/>
                  <a:gd name="connsiteY8" fmla="*/ 325967 h 4741333"/>
                  <a:gd name="connsiteX9" fmla="*/ 232833 w 8788400"/>
                  <a:gd name="connsiteY9" fmla="*/ 325967 h 4741333"/>
                  <a:gd name="connsiteX10" fmla="*/ 232833 w 8788400"/>
                  <a:gd name="connsiteY10" fmla="*/ 448733 h 4741333"/>
                  <a:gd name="connsiteX11" fmla="*/ 275167 w 8788400"/>
                  <a:gd name="connsiteY11" fmla="*/ 448733 h 4741333"/>
                  <a:gd name="connsiteX12" fmla="*/ 275167 w 8788400"/>
                  <a:gd name="connsiteY12" fmla="*/ 508000 h 4741333"/>
                  <a:gd name="connsiteX13" fmla="*/ 313267 w 8788400"/>
                  <a:gd name="connsiteY13" fmla="*/ 508000 h 4741333"/>
                  <a:gd name="connsiteX14" fmla="*/ 313267 w 8788400"/>
                  <a:gd name="connsiteY14" fmla="*/ 821267 h 4741333"/>
                  <a:gd name="connsiteX15" fmla="*/ 351367 w 8788400"/>
                  <a:gd name="connsiteY15" fmla="*/ 821267 h 4741333"/>
                  <a:gd name="connsiteX16" fmla="*/ 351367 w 8788400"/>
                  <a:gd name="connsiteY16" fmla="*/ 884767 h 4741333"/>
                  <a:gd name="connsiteX17" fmla="*/ 402167 w 8788400"/>
                  <a:gd name="connsiteY17" fmla="*/ 884767 h 4741333"/>
                  <a:gd name="connsiteX18" fmla="*/ 402167 w 8788400"/>
                  <a:gd name="connsiteY18" fmla="*/ 1016000 h 4741333"/>
                  <a:gd name="connsiteX19" fmla="*/ 448733 w 8788400"/>
                  <a:gd name="connsiteY19" fmla="*/ 1016000 h 4741333"/>
                  <a:gd name="connsiteX20" fmla="*/ 448733 w 8788400"/>
                  <a:gd name="connsiteY20" fmla="*/ 1083733 h 4741333"/>
                  <a:gd name="connsiteX21" fmla="*/ 491067 w 8788400"/>
                  <a:gd name="connsiteY21" fmla="*/ 1083733 h 4741333"/>
                  <a:gd name="connsiteX22" fmla="*/ 491067 w 8788400"/>
                  <a:gd name="connsiteY22" fmla="*/ 1202267 h 4741333"/>
                  <a:gd name="connsiteX23" fmla="*/ 563033 w 8788400"/>
                  <a:gd name="connsiteY23" fmla="*/ 1202267 h 4741333"/>
                  <a:gd name="connsiteX24" fmla="*/ 563033 w 8788400"/>
                  <a:gd name="connsiteY24" fmla="*/ 1278467 h 4741333"/>
                  <a:gd name="connsiteX25" fmla="*/ 685800 w 8788400"/>
                  <a:gd name="connsiteY25" fmla="*/ 1278467 h 4741333"/>
                  <a:gd name="connsiteX26" fmla="*/ 685800 w 8788400"/>
                  <a:gd name="connsiteY26" fmla="*/ 1409700 h 4741333"/>
                  <a:gd name="connsiteX27" fmla="*/ 745067 w 8788400"/>
                  <a:gd name="connsiteY27" fmla="*/ 1409700 h 4741333"/>
                  <a:gd name="connsiteX28" fmla="*/ 745067 w 8788400"/>
                  <a:gd name="connsiteY28" fmla="*/ 1464733 h 4741333"/>
                  <a:gd name="connsiteX29" fmla="*/ 897467 w 8788400"/>
                  <a:gd name="connsiteY29" fmla="*/ 1464733 h 4741333"/>
                  <a:gd name="connsiteX30" fmla="*/ 897467 w 8788400"/>
                  <a:gd name="connsiteY30" fmla="*/ 1600200 h 4741333"/>
                  <a:gd name="connsiteX31" fmla="*/ 1121833 w 8788400"/>
                  <a:gd name="connsiteY31" fmla="*/ 1600200 h 4741333"/>
                  <a:gd name="connsiteX32" fmla="*/ 1121833 w 8788400"/>
                  <a:gd name="connsiteY32" fmla="*/ 1659467 h 4741333"/>
                  <a:gd name="connsiteX33" fmla="*/ 1121833 w 8788400"/>
                  <a:gd name="connsiteY33" fmla="*/ 1659467 h 4741333"/>
                  <a:gd name="connsiteX34" fmla="*/ 1159933 w 8788400"/>
                  <a:gd name="connsiteY34" fmla="*/ 1659467 h 4741333"/>
                  <a:gd name="connsiteX35" fmla="*/ 1159933 w 8788400"/>
                  <a:gd name="connsiteY35" fmla="*/ 1794933 h 4741333"/>
                  <a:gd name="connsiteX36" fmla="*/ 1286933 w 8788400"/>
                  <a:gd name="connsiteY36" fmla="*/ 1794933 h 4741333"/>
                  <a:gd name="connsiteX37" fmla="*/ 1286933 w 8788400"/>
                  <a:gd name="connsiteY37" fmla="*/ 1930400 h 4741333"/>
                  <a:gd name="connsiteX38" fmla="*/ 1333500 w 8788400"/>
                  <a:gd name="connsiteY38" fmla="*/ 1930400 h 4741333"/>
                  <a:gd name="connsiteX39" fmla="*/ 1333500 w 8788400"/>
                  <a:gd name="connsiteY39" fmla="*/ 1985433 h 4741333"/>
                  <a:gd name="connsiteX40" fmla="*/ 1375833 w 8788400"/>
                  <a:gd name="connsiteY40" fmla="*/ 1985433 h 4741333"/>
                  <a:gd name="connsiteX41" fmla="*/ 1375833 w 8788400"/>
                  <a:gd name="connsiteY41" fmla="*/ 2044700 h 4741333"/>
                  <a:gd name="connsiteX42" fmla="*/ 1498600 w 8788400"/>
                  <a:gd name="connsiteY42" fmla="*/ 2044700 h 4741333"/>
                  <a:gd name="connsiteX43" fmla="*/ 1498600 w 8788400"/>
                  <a:gd name="connsiteY43" fmla="*/ 2112433 h 4741333"/>
                  <a:gd name="connsiteX44" fmla="*/ 1549400 w 8788400"/>
                  <a:gd name="connsiteY44" fmla="*/ 2112433 h 4741333"/>
                  <a:gd name="connsiteX45" fmla="*/ 1549400 w 8788400"/>
                  <a:gd name="connsiteY45" fmla="*/ 2184400 h 4741333"/>
                  <a:gd name="connsiteX46" fmla="*/ 1549400 w 8788400"/>
                  <a:gd name="connsiteY46" fmla="*/ 2184400 h 4741333"/>
                  <a:gd name="connsiteX47" fmla="*/ 1587500 w 8788400"/>
                  <a:gd name="connsiteY47" fmla="*/ 2184400 h 4741333"/>
                  <a:gd name="connsiteX48" fmla="*/ 1587500 w 8788400"/>
                  <a:gd name="connsiteY48" fmla="*/ 2315633 h 4741333"/>
                  <a:gd name="connsiteX49" fmla="*/ 1642533 w 8788400"/>
                  <a:gd name="connsiteY49" fmla="*/ 2315633 h 4741333"/>
                  <a:gd name="connsiteX50" fmla="*/ 1642533 w 8788400"/>
                  <a:gd name="connsiteY50" fmla="*/ 2383367 h 4741333"/>
                  <a:gd name="connsiteX51" fmla="*/ 1676400 w 8788400"/>
                  <a:gd name="connsiteY51" fmla="*/ 2383367 h 4741333"/>
                  <a:gd name="connsiteX52" fmla="*/ 1676400 w 8788400"/>
                  <a:gd name="connsiteY52" fmla="*/ 2455333 h 4741333"/>
                  <a:gd name="connsiteX53" fmla="*/ 1841500 w 8788400"/>
                  <a:gd name="connsiteY53" fmla="*/ 2455333 h 4741333"/>
                  <a:gd name="connsiteX54" fmla="*/ 1841500 w 8788400"/>
                  <a:gd name="connsiteY54" fmla="*/ 2586567 h 4741333"/>
                  <a:gd name="connsiteX55" fmla="*/ 2167467 w 8788400"/>
                  <a:gd name="connsiteY55" fmla="*/ 2586567 h 4741333"/>
                  <a:gd name="connsiteX56" fmla="*/ 2167467 w 8788400"/>
                  <a:gd name="connsiteY56" fmla="*/ 2667000 h 4741333"/>
                  <a:gd name="connsiteX57" fmla="*/ 2222500 w 8788400"/>
                  <a:gd name="connsiteY57" fmla="*/ 2667000 h 4741333"/>
                  <a:gd name="connsiteX58" fmla="*/ 2222500 w 8788400"/>
                  <a:gd name="connsiteY58" fmla="*/ 2717800 h 4741333"/>
                  <a:gd name="connsiteX59" fmla="*/ 2260600 w 8788400"/>
                  <a:gd name="connsiteY59" fmla="*/ 2717800 h 4741333"/>
                  <a:gd name="connsiteX60" fmla="*/ 2260600 w 8788400"/>
                  <a:gd name="connsiteY60" fmla="*/ 2806700 h 4741333"/>
                  <a:gd name="connsiteX61" fmla="*/ 2315633 w 8788400"/>
                  <a:gd name="connsiteY61" fmla="*/ 2806700 h 4741333"/>
                  <a:gd name="connsiteX62" fmla="*/ 2315633 w 8788400"/>
                  <a:gd name="connsiteY62" fmla="*/ 2865967 h 4741333"/>
                  <a:gd name="connsiteX63" fmla="*/ 2396067 w 8788400"/>
                  <a:gd name="connsiteY63" fmla="*/ 2865967 h 4741333"/>
                  <a:gd name="connsiteX64" fmla="*/ 2396067 w 8788400"/>
                  <a:gd name="connsiteY64" fmla="*/ 2937933 h 4741333"/>
                  <a:gd name="connsiteX65" fmla="*/ 2556933 w 8788400"/>
                  <a:gd name="connsiteY65" fmla="*/ 2937933 h 4741333"/>
                  <a:gd name="connsiteX66" fmla="*/ 2556933 w 8788400"/>
                  <a:gd name="connsiteY66" fmla="*/ 3009900 h 4741333"/>
                  <a:gd name="connsiteX67" fmla="*/ 2611967 w 8788400"/>
                  <a:gd name="connsiteY67" fmla="*/ 3009900 h 4741333"/>
                  <a:gd name="connsiteX68" fmla="*/ 2611967 w 8788400"/>
                  <a:gd name="connsiteY68" fmla="*/ 3069167 h 4741333"/>
                  <a:gd name="connsiteX69" fmla="*/ 2781300 w 8788400"/>
                  <a:gd name="connsiteY69" fmla="*/ 3069167 h 4741333"/>
                  <a:gd name="connsiteX70" fmla="*/ 2781300 w 8788400"/>
                  <a:gd name="connsiteY70" fmla="*/ 3145367 h 4741333"/>
                  <a:gd name="connsiteX71" fmla="*/ 2997200 w 8788400"/>
                  <a:gd name="connsiteY71" fmla="*/ 3145367 h 4741333"/>
                  <a:gd name="connsiteX72" fmla="*/ 2997200 w 8788400"/>
                  <a:gd name="connsiteY72" fmla="*/ 3217333 h 4741333"/>
                  <a:gd name="connsiteX73" fmla="*/ 3369733 w 8788400"/>
                  <a:gd name="connsiteY73" fmla="*/ 3217333 h 4741333"/>
                  <a:gd name="connsiteX74" fmla="*/ 3369733 w 8788400"/>
                  <a:gd name="connsiteY74" fmla="*/ 3276600 h 4741333"/>
                  <a:gd name="connsiteX75" fmla="*/ 3462867 w 8788400"/>
                  <a:gd name="connsiteY75" fmla="*/ 3276600 h 4741333"/>
                  <a:gd name="connsiteX76" fmla="*/ 3462867 w 8788400"/>
                  <a:gd name="connsiteY76" fmla="*/ 3365500 h 4741333"/>
                  <a:gd name="connsiteX77" fmla="*/ 3704167 w 8788400"/>
                  <a:gd name="connsiteY77" fmla="*/ 3365500 h 4741333"/>
                  <a:gd name="connsiteX78" fmla="*/ 3704167 w 8788400"/>
                  <a:gd name="connsiteY78" fmla="*/ 3424767 h 4741333"/>
                  <a:gd name="connsiteX79" fmla="*/ 3970867 w 8788400"/>
                  <a:gd name="connsiteY79" fmla="*/ 3424767 h 4741333"/>
                  <a:gd name="connsiteX80" fmla="*/ 3970867 w 8788400"/>
                  <a:gd name="connsiteY80" fmla="*/ 3505200 h 4741333"/>
                  <a:gd name="connsiteX81" fmla="*/ 4051300 w 8788400"/>
                  <a:gd name="connsiteY81" fmla="*/ 3505200 h 4741333"/>
                  <a:gd name="connsiteX82" fmla="*/ 4051300 w 8788400"/>
                  <a:gd name="connsiteY82" fmla="*/ 3572933 h 4741333"/>
                  <a:gd name="connsiteX83" fmla="*/ 4377267 w 8788400"/>
                  <a:gd name="connsiteY83" fmla="*/ 3572933 h 4741333"/>
                  <a:gd name="connsiteX84" fmla="*/ 4377267 w 8788400"/>
                  <a:gd name="connsiteY84" fmla="*/ 3653367 h 4741333"/>
                  <a:gd name="connsiteX85" fmla="*/ 4572000 w 8788400"/>
                  <a:gd name="connsiteY85" fmla="*/ 3653367 h 4741333"/>
                  <a:gd name="connsiteX86" fmla="*/ 4572000 w 8788400"/>
                  <a:gd name="connsiteY86" fmla="*/ 3716867 h 4741333"/>
                  <a:gd name="connsiteX87" fmla="*/ 4766733 w 8788400"/>
                  <a:gd name="connsiteY87" fmla="*/ 3716867 h 4741333"/>
                  <a:gd name="connsiteX88" fmla="*/ 4766733 w 8788400"/>
                  <a:gd name="connsiteY88" fmla="*/ 3797300 h 4741333"/>
                  <a:gd name="connsiteX89" fmla="*/ 4826000 w 8788400"/>
                  <a:gd name="connsiteY89" fmla="*/ 3797300 h 4741333"/>
                  <a:gd name="connsiteX90" fmla="*/ 4826000 w 8788400"/>
                  <a:gd name="connsiteY90" fmla="*/ 3865033 h 4741333"/>
                  <a:gd name="connsiteX91" fmla="*/ 4881033 w 8788400"/>
                  <a:gd name="connsiteY91" fmla="*/ 3865033 h 4741333"/>
                  <a:gd name="connsiteX92" fmla="*/ 4881033 w 8788400"/>
                  <a:gd name="connsiteY92" fmla="*/ 3937000 h 4741333"/>
                  <a:gd name="connsiteX93" fmla="*/ 5240867 w 8788400"/>
                  <a:gd name="connsiteY93" fmla="*/ 3937000 h 4741333"/>
                  <a:gd name="connsiteX94" fmla="*/ 5240867 w 8788400"/>
                  <a:gd name="connsiteY94" fmla="*/ 4030133 h 4741333"/>
                  <a:gd name="connsiteX95" fmla="*/ 5304367 w 8788400"/>
                  <a:gd name="connsiteY95" fmla="*/ 4030133 h 4741333"/>
                  <a:gd name="connsiteX96" fmla="*/ 5304367 w 8788400"/>
                  <a:gd name="connsiteY96" fmla="*/ 4114800 h 4741333"/>
                  <a:gd name="connsiteX97" fmla="*/ 6180667 w 8788400"/>
                  <a:gd name="connsiteY97" fmla="*/ 4114800 h 4741333"/>
                  <a:gd name="connsiteX98" fmla="*/ 6180667 w 8788400"/>
                  <a:gd name="connsiteY98" fmla="*/ 4220633 h 4741333"/>
                  <a:gd name="connsiteX99" fmla="*/ 6515100 w 8788400"/>
                  <a:gd name="connsiteY99" fmla="*/ 4220633 h 4741333"/>
                  <a:gd name="connsiteX100" fmla="*/ 6515100 w 8788400"/>
                  <a:gd name="connsiteY100" fmla="*/ 4313767 h 4741333"/>
                  <a:gd name="connsiteX101" fmla="*/ 6913033 w 8788400"/>
                  <a:gd name="connsiteY101" fmla="*/ 4313767 h 4741333"/>
                  <a:gd name="connsiteX102" fmla="*/ 6913033 w 8788400"/>
                  <a:gd name="connsiteY102" fmla="*/ 4419600 h 4741333"/>
                  <a:gd name="connsiteX103" fmla="*/ 7984067 w 8788400"/>
                  <a:gd name="connsiteY103" fmla="*/ 4419600 h 4741333"/>
                  <a:gd name="connsiteX104" fmla="*/ 7984067 w 8788400"/>
                  <a:gd name="connsiteY104" fmla="*/ 4572000 h 4741333"/>
                  <a:gd name="connsiteX105" fmla="*/ 8788400 w 8788400"/>
                  <a:gd name="connsiteY105" fmla="*/ 4572000 h 4741333"/>
                  <a:gd name="connsiteX106" fmla="*/ 8788400 w 8788400"/>
                  <a:gd name="connsiteY106" fmla="*/ 4741333 h 4741333"/>
                  <a:gd name="connsiteX107" fmla="*/ 8788400 w 8788400"/>
                  <a:gd name="connsiteY107" fmla="*/ 4720167 h 4741333"/>
                  <a:gd name="connsiteX108" fmla="*/ 8788400 w 8788400"/>
                  <a:gd name="connsiteY108" fmla="*/ 4732867 h 4741333"/>
                  <a:gd name="connsiteX109" fmla="*/ 8788400 w 8788400"/>
                  <a:gd name="connsiteY109" fmla="*/ 4732867 h 4741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</a:cxnLst>
                <a:rect l="l" t="t" r="r" b="b"/>
                <a:pathLst>
                  <a:path w="8788400" h="4741333">
                    <a:moveTo>
                      <a:pt x="8467" y="0"/>
                    </a:moveTo>
                    <a:lnTo>
                      <a:pt x="8467" y="0"/>
                    </a:lnTo>
                    <a:lnTo>
                      <a:pt x="0" y="50800"/>
                    </a:lnTo>
                    <a:lnTo>
                      <a:pt x="105833" y="50800"/>
                    </a:lnTo>
                    <a:lnTo>
                      <a:pt x="105833" y="131233"/>
                    </a:lnTo>
                    <a:lnTo>
                      <a:pt x="156633" y="131233"/>
                    </a:lnTo>
                    <a:lnTo>
                      <a:pt x="156633" y="203200"/>
                    </a:lnTo>
                    <a:lnTo>
                      <a:pt x="194733" y="203200"/>
                    </a:lnTo>
                    <a:lnTo>
                      <a:pt x="194733" y="325967"/>
                    </a:lnTo>
                    <a:lnTo>
                      <a:pt x="232833" y="325967"/>
                    </a:lnTo>
                    <a:lnTo>
                      <a:pt x="232833" y="448733"/>
                    </a:lnTo>
                    <a:lnTo>
                      <a:pt x="275167" y="448733"/>
                    </a:lnTo>
                    <a:lnTo>
                      <a:pt x="275167" y="508000"/>
                    </a:lnTo>
                    <a:lnTo>
                      <a:pt x="313267" y="508000"/>
                    </a:lnTo>
                    <a:lnTo>
                      <a:pt x="313267" y="821267"/>
                    </a:lnTo>
                    <a:lnTo>
                      <a:pt x="351367" y="821267"/>
                    </a:lnTo>
                    <a:lnTo>
                      <a:pt x="351367" y="884767"/>
                    </a:lnTo>
                    <a:lnTo>
                      <a:pt x="402167" y="884767"/>
                    </a:lnTo>
                    <a:lnTo>
                      <a:pt x="402167" y="1016000"/>
                    </a:lnTo>
                    <a:lnTo>
                      <a:pt x="448733" y="1016000"/>
                    </a:lnTo>
                    <a:lnTo>
                      <a:pt x="448733" y="1083733"/>
                    </a:lnTo>
                    <a:lnTo>
                      <a:pt x="491067" y="1083733"/>
                    </a:lnTo>
                    <a:lnTo>
                      <a:pt x="491067" y="1202267"/>
                    </a:lnTo>
                    <a:lnTo>
                      <a:pt x="563033" y="1202267"/>
                    </a:lnTo>
                    <a:lnTo>
                      <a:pt x="563033" y="1278467"/>
                    </a:lnTo>
                    <a:lnTo>
                      <a:pt x="685800" y="1278467"/>
                    </a:lnTo>
                    <a:lnTo>
                      <a:pt x="685800" y="1409700"/>
                    </a:lnTo>
                    <a:lnTo>
                      <a:pt x="745067" y="1409700"/>
                    </a:lnTo>
                    <a:lnTo>
                      <a:pt x="745067" y="1464733"/>
                    </a:lnTo>
                    <a:lnTo>
                      <a:pt x="897467" y="1464733"/>
                    </a:lnTo>
                    <a:lnTo>
                      <a:pt x="897467" y="1600200"/>
                    </a:lnTo>
                    <a:lnTo>
                      <a:pt x="1121833" y="1600200"/>
                    </a:lnTo>
                    <a:lnTo>
                      <a:pt x="1121833" y="1659467"/>
                    </a:lnTo>
                    <a:lnTo>
                      <a:pt x="1121833" y="1659467"/>
                    </a:lnTo>
                    <a:lnTo>
                      <a:pt x="1159933" y="1659467"/>
                    </a:lnTo>
                    <a:lnTo>
                      <a:pt x="1159933" y="1794933"/>
                    </a:lnTo>
                    <a:lnTo>
                      <a:pt x="1286933" y="1794933"/>
                    </a:lnTo>
                    <a:lnTo>
                      <a:pt x="1286933" y="1930400"/>
                    </a:lnTo>
                    <a:lnTo>
                      <a:pt x="1333500" y="1930400"/>
                    </a:lnTo>
                    <a:lnTo>
                      <a:pt x="1333500" y="1985433"/>
                    </a:lnTo>
                    <a:lnTo>
                      <a:pt x="1375833" y="1985433"/>
                    </a:lnTo>
                    <a:lnTo>
                      <a:pt x="1375833" y="2044700"/>
                    </a:lnTo>
                    <a:lnTo>
                      <a:pt x="1498600" y="2044700"/>
                    </a:lnTo>
                    <a:lnTo>
                      <a:pt x="1498600" y="2112433"/>
                    </a:lnTo>
                    <a:lnTo>
                      <a:pt x="1549400" y="2112433"/>
                    </a:lnTo>
                    <a:lnTo>
                      <a:pt x="1549400" y="2184400"/>
                    </a:lnTo>
                    <a:lnTo>
                      <a:pt x="1549400" y="2184400"/>
                    </a:lnTo>
                    <a:lnTo>
                      <a:pt x="1587500" y="2184400"/>
                    </a:lnTo>
                    <a:lnTo>
                      <a:pt x="1587500" y="2315633"/>
                    </a:lnTo>
                    <a:lnTo>
                      <a:pt x="1642533" y="2315633"/>
                    </a:lnTo>
                    <a:lnTo>
                      <a:pt x="1642533" y="2383367"/>
                    </a:lnTo>
                    <a:lnTo>
                      <a:pt x="1676400" y="2383367"/>
                    </a:lnTo>
                    <a:lnTo>
                      <a:pt x="1676400" y="2455333"/>
                    </a:lnTo>
                    <a:lnTo>
                      <a:pt x="1841500" y="2455333"/>
                    </a:lnTo>
                    <a:lnTo>
                      <a:pt x="1841500" y="2586567"/>
                    </a:lnTo>
                    <a:lnTo>
                      <a:pt x="2167467" y="2586567"/>
                    </a:lnTo>
                    <a:lnTo>
                      <a:pt x="2167467" y="2667000"/>
                    </a:lnTo>
                    <a:lnTo>
                      <a:pt x="2222500" y="2667000"/>
                    </a:lnTo>
                    <a:lnTo>
                      <a:pt x="2222500" y="2717800"/>
                    </a:lnTo>
                    <a:lnTo>
                      <a:pt x="2260600" y="2717800"/>
                    </a:lnTo>
                    <a:lnTo>
                      <a:pt x="2260600" y="2806700"/>
                    </a:lnTo>
                    <a:lnTo>
                      <a:pt x="2315633" y="2806700"/>
                    </a:lnTo>
                    <a:lnTo>
                      <a:pt x="2315633" y="2865967"/>
                    </a:lnTo>
                    <a:lnTo>
                      <a:pt x="2396067" y="2865967"/>
                    </a:lnTo>
                    <a:lnTo>
                      <a:pt x="2396067" y="2937933"/>
                    </a:lnTo>
                    <a:lnTo>
                      <a:pt x="2556933" y="2937933"/>
                    </a:lnTo>
                    <a:lnTo>
                      <a:pt x="2556933" y="3009900"/>
                    </a:lnTo>
                    <a:lnTo>
                      <a:pt x="2611967" y="3009900"/>
                    </a:lnTo>
                    <a:lnTo>
                      <a:pt x="2611967" y="3069167"/>
                    </a:lnTo>
                    <a:lnTo>
                      <a:pt x="2781300" y="3069167"/>
                    </a:lnTo>
                    <a:lnTo>
                      <a:pt x="2781300" y="3145367"/>
                    </a:lnTo>
                    <a:lnTo>
                      <a:pt x="2997200" y="3145367"/>
                    </a:lnTo>
                    <a:lnTo>
                      <a:pt x="2997200" y="3217333"/>
                    </a:lnTo>
                    <a:lnTo>
                      <a:pt x="3369733" y="3217333"/>
                    </a:lnTo>
                    <a:lnTo>
                      <a:pt x="3369733" y="3276600"/>
                    </a:lnTo>
                    <a:lnTo>
                      <a:pt x="3462867" y="3276600"/>
                    </a:lnTo>
                    <a:lnTo>
                      <a:pt x="3462867" y="3365500"/>
                    </a:lnTo>
                    <a:lnTo>
                      <a:pt x="3704167" y="3365500"/>
                    </a:lnTo>
                    <a:lnTo>
                      <a:pt x="3704167" y="3424767"/>
                    </a:lnTo>
                    <a:lnTo>
                      <a:pt x="3970867" y="3424767"/>
                    </a:lnTo>
                    <a:lnTo>
                      <a:pt x="3970867" y="3505200"/>
                    </a:lnTo>
                    <a:lnTo>
                      <a:pt x="4051300" y="3505200"/>
                    </a:lnTo>
                    <a:lnTo>
                      <a:pt x="4051300" y="3572933"/>
                    </a:lnTo>
                    <a:lnTo>
                      <a:pt x="4377267" y="3572933"/>
                    </a:lnTo>
                    <a:lnTo>
                      <a:pt x="4377267" y="3653367"/>
                    </a:lnTo>
                    <a:lnTo>
                      <a:pt x="4572000" y="3653367"/>
                    </a:lnTo>
                    <a:lnTo>
                      <a:pt x="4572000" y="3716867"/>
                    </a:lnTo>
                    <a:lnTo>
                      <a:pt x="4766733" y="3716867"/>
                    </a:lnTo>
                    <a:lnTo>
                      <a:pt x="4766733" y="3797300"/>
                    </a:lnTo>
                    <a:lnTo>
                      <a:pt x="4826000" y="3797300"/>
                    </a:lnTo>
                    <a:lnTo>
                      <a:pt x="4826000" y="3865033"/>
                    </a:lnTo>
                    <a:lnTo>
                      <a:pt x="4881033" y="3865033"/>
                    </a:lnTo>
                    <a:lnTo>
                      <a:pt x="4881033" y="3937000"/>
                    </a:lnTo>
                    <a:lnTo>
                      <a:pt x="5240867" y="3937000"/>
                    </a:lnTo>
                    <a:lnTo>
                      <a:pt x="5240867" y="4030133"/>
                    </a:lnTo>
                    <a:lnTo>
                      <a:pt x="5304367" y="4030133"/>
                    </a:lnTo>
                    <a:lnTo>
                      <a:pt x="5304367" y="4114800"/>
                    </a:lnTo>
                    <a:lnTo>
                      <a:pt x="6180667" y="4114800"/>
                    </a:lnTo>
                    <a:lnTo>
                      <a:pt x="6180667" y="4220633"/>
                    </a:lnTo>
                    <a:lnTo>
                      <a:pt x="6515100" y="4220633"/>
                    </a:lnTo>
                    <a:lnTo>
                      <a:pt x="6515100" y="4313767"/>
                    </a:lnTo>
                    <a:lnTo>
                      <a:pt x="6913033" y="4313767"/>
                    </a:lnTo>
                    <a:lnTo>
                      <a:pt x="6913033" y="4419600"/>
                    </a:lnTo>
                    <a:lnTo>
                      <a:pt x="7984067" y="4419600"/>
                    </a:lnTo>
                    <a:lnTo>
                      <a:pt x="7984067" y="4572000"/>
                    </a:lnTo>
                    <a:lnTo>
                      <a:pt x="8788400" y="4572000"/>
                    </a:lnTo>
                    <a:lnTo>
                      <a:pt x="8788400" y="4741333"/>
                    </a:lnTo>
                    <a:lnTo>
                      <a:pt x="8788400" y="4720167"/>
                    </a:lnTo>
                    <a:lnTo>
                      <a:pt x="8788400" y="4732867"/>
                    </a:lnTo>
                    <a:lnTo>
                      <a:pt x="8788400" y="4732867"/>
                    </a:lnTo>
                  </a:path>
                </a:pathLst>
              </a:custGeom>
              <a:noFill/>
              <a:ln w="25400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grpSp>
            <p:nvGrpSpPr>
              <p:cNvPr id="545" name="Group 544">
                <a:extLst>
                  <a:ext uri="{FF2B5EF4-FFF2-40B4-BE49-F238E27FC236}">
                    <a16:creationId xmlns:a16="http://schemas.microsoft.com/office/drawing/2014/main" id="{5DADA8F5-4784-8C30-E5FC-033BE4FCC72B}"/>
                  </a:ext>
                </a:extLst>
              </p:cNvPr>
              <p:cNvGrpSpPr/>
              <p:nvPr/>
            </p:nvGrpSpPr>
            <p:grpSpPr>
              <a:xfrm>
                <a:off x="1477149" y="1623789"/>
                <a:ext cx="2764651" cy="2919636"/>
                <a:chOff x="1477149" y="1623789"/>
                <a:chExt cx="2764651" cy="2919636"/>
              </a:xfrm>
            </p:grpSpPr>
            <p:grpSp>
              <p:nvGrpSpPr>
                <p:cNvPr id="546" name="Group 545">
                  <a:extLst>
                    <a:ext uri="{FF2B5EF4-FFF2-40B4-BE49-F238E27FC236}">
                      <a16:creationId xmlns:a16="http://schemas.microsoft.com/office/drawing/2014/main" id="{853D3005-8FA4-707F-4975-31810C58773D}"/>
                    </a:ext>
                  </a:extLst>
                </p:cNvPr>
                <p:cNvGrpSpPr/>
                <p:nvPr/>
              </p:nvGrpSpPr>
              <p:grpSpPr>
                <a:xfrm>
                  <a:off x="1477149" y="1623789"/>
                  <a:ext cx="79375" cy="88900"/>
                  <a:chOff x="1337636" y="1955800"/>
                  <a:chExt cx="79375" cy="88900"/>
                </a:xfrm>
              </p:grpSpPr>
              <p:cxnSp>
                <p:nvCxnSpPr>
                  <p:cNvPr id="575" name="Straight Connector 574">
                    <a:extLst>
                      <a:ext uri="{FF2B5EF4-FFF2-40B4-BE49-F238E27FC236}">
                        <a16:creationId xmlns:a16="http://schemas.microsoft.com/office/drawing/2014/main" id="{91FEFA57-39FA-4642-EDF9-F2500B28A5EA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378911" y="1955800"/>
                    <a:ext cx="0" cy="88900"/>
                  </a:xfrm>
                  <a:prstGeom prst="line">
                    <a:avLst/>
                  </a:prstGeom>
                  <a:ln w="190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6" name="Straight Connector 575">
                    <a:extLst>
                      <a:ext uri="{FF2B5EF4-FFF2-40B4-BE49-F238E27FC236}">
                        <a16:creationId xmlns:a16="http://schemas.microsoft.com/office/drawing/2014/main" id="{6A6E7804-C5A2-97C9-37D0-DE2356E68689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H="1">
                    <a:off x="1337636" y="2000250"/>
                    <a:ext cx="79375" cy="0"/>
                  </a:xfrm>
                  <a:prstGeom prst="line">
                    <a:avLst/>
                  </a:prstGeom>
                  <a:ln w="19050">
                    <a:solidFill>
                      <a:schemeClr val="tx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47" name="Group 546">
                  <a:extLst>
                    <a:ext uri="{FF2B5EF4-FFF2-40B4-BE49-F238E27FC236}">
                      <a16:creationId xmlns:a16="http://schemas.microsoft.com/office/drawing/2014/main" id="{236EF9AB-4ABC-EDD2-C822-A654D3326CCE}"/>
                    </a:ext>
                  </a:extLst>
                </p:cNvPr>
                <p:cNvGrpSpPr/>
                <p:nvPr/>
              </p:nvGrpSpPr>
              <p:grpSpPr>
                <a:xfrm>
                  <a:off x="1546225" y="2085975"/>
                  <a:ext cx="2695575" cy="2457450"/>
                  <a:chOff x="1546225" y="2085975"/>
                  <a:chExt cx="2695575" cy="2457450"/>
                </a:xfrm>
              </p:grpSpPr>
              <p:grpSp>
                <p:nvGrpSpPr>
                  <p:cNvPr id="548" name="Group 547">
                    <a:extLst>
                      <a:ext uri="{FF2B5EF4-FFF2-40B4-BE49-F238E27FC236}">
                        <a16:creationId xmlns:a16="http://schemas.microsoft.com/office/drawing/2014/main" id="{7D77C5AF-5737-5548-4FCD-9D3238610F68}"/>
                      </a:ext>
                    </a:extLst>
                  </p:cNvPr>
                  <p:cNvGrpSpPr/>
                  <p:nvPr/>
                </p:nvGrpSpPr>
                <p:grpSpPr>
                  <a:xfrm>
                    <a:off x="1546225" y="2085975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73" name="Straight Connector 572">
                      <a:extLst>
                        <a:ext uri="{FF2B5EF4-FFF2-40B4-BE49-F238E27FC236}">
                          <a16:creationId xmlns:a16="http://schemas.microsoft.com/office/drawing/2014/main" id="{7A6AF130-2BAF-B977-8F3E-2F9B5F1A9AB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4" name="Straight Connector 573">
                      <a:extLst>
                        <a:ext uri="{FF2B5EF4-FFF2-40B4-BE49-F238E27FC236}">
                          <a16:creationId xmlns:a16="http://schemas.microsoft.com/office/drawing/2014/main" id="{32B3F129-39B8-F176-8A07-853341B383C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49" name="Group 548">
                    <a:extLst>
                      <a:ext uri="{FF2B5EF4-FFF2-40B4-BE49-F238E27FC236}">
                        <a16:creationId xmlns:a16="http://schemas.microsoft.com/office/drawing/2014/main" id="{E2C7E5CF-A956-CD59-7BAD-303C7FEF6ED7}"/>
                      </a:ext>
                    </a:extLst>
                  </p:cNvPr>
                  <p:cNvGrpSpPr/>
                  <p:nvPr/>
                </p:nvGrpSpPr>
                <p:grpSpPr>
                  <a:xfrm>
                    <a:off x="1609725" y="2298700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71" name="Straight Connector 570">
                      <a:extLst>
                        <a:ext uri="{FF2B5EF4-FFF2-40B4-BE49-F238E27FC236}">
                          <a16:creationId xmlns:a16="http://schemas.microsoft.com/office/drawing/2014/main" id="{8E13AA0C-D5C1-4B62-F498-91F6BF1F0BD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2" name="Straight Connector 571">
                      <a:extLst>
                        <a:ext uri="{FF2B5EF4-FFF2-40B4-BE49-F238E27FC236}">
                          <a16:creationId xmlns:a16="http://schemas.microsoft.com/office/drawing/2014/main" id="{3779E5DF-650B-3DCF-F1A7-7A08AC7FB7E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0" name="Group 549">
                    <a:extLst>
                      <a:ext uri="{FF2B5EF4-FFF2-40B4-BE49-F238E27FC236}">
                        <a16:creationId xmlns:a16="http://schemas.microsoft.com/office/drawing/2014/main" id="{88383C23-5B96-7A9E-04AD-D6E9B70A3378}"/>
                      </a:ext>
                    </a:extLst>
                  </p:cNvPr>
                  <p:cNvGrpSpPr/>
                  <p:nvPr/>
                </p:nvGrpSpPr>
                <p:grpSpPr>
                  <a:xfrm>
                    <a:off x="1997075" y="3048000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69" name="Straight Connector 568">
                      <a:extLst>
                        <a:ext uri="{FF2B5EF4-FFF2-40B4-BE49-F238E27FC236}">
                          <a16:creationId xmlns:a16="http://schemas.microsoft.com/office/drawing/2014/main" id="{822125A3-E49B-DF5B-5C21-685AA8C1C76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70" name="Straight Connector 569">
                      <a:extLst>
                        <a:ext uri="{FF2B5EF4-FFF2-40B4-BE49-F238E27FC236}">
                          <a16:creationId xmlns:a16="http://schemas.microsoft.com/office/drawing/2014/main" id="{C9BA2444-BC04-F127-3E96-9724B4EB94F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1" name="Group 550">
                    <a:extLst>
                      <a:ext uri="{FF2B5EF4-FFF2-40B4-BE49-F238E27FC236}">
                        <a16:creationId xmlns:a16="http://schemas.microsoft.com/office/drawing/2014/main" id="{33BBF9DD-43FD-411D-0169-689FA3B345F7}"/>
                      </a:ext>
                    </a:extLst>
                  </p:cNvPr>
                  <p:cNvGrpSpPr/>
                  <p:nvPr/>
                </p:nvGrpSpPr>
                <p:grpSpPr>
                  <a:xfrm>
                    <a:off x="2063750" y="3140075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67" name="Straight Connector 566">
                      <a:extLst>
                        <a:ext uri="{FF2B5EF4-FFF2-40B4-BE49-F238E27FC236}">
                          <a16:creationId xmlns:a16="http://schemas.microsoft.com/office/drawing/2014/main" id="{4DE948CC-8928-6CEC-495B-F6AA19C7463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8" name="Straight Connector 567">
                      <a:extLst>
                        <a:ext uri="{FF2B5EF4-FFF2-40B4-BE49-F238E27FC236}">
                          <a16:creationId xmlns:a16="http://schemas.microsoft.com/office/drawing/2014/main" id="{809645A4-F0AE-FCD0-DE8E-CB46399A43C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2" name="Group 551">
                    <a:extLst>
                      <a:ext uri="{FF2B5EF4-FFF2-40B4-BE49-F238E27FC236}">
                        <a16:creationId xmlns:a16="http://schemas.microsoft.com/office/drawing/2014/main" id="{0B709AC0-E334-1A74-2585-CC37BEB41299}"/>
                      </a:ext>
                    </a:extLst>
                  </p:cNvPr>
                  <p:cNvGrpSpPr/>
                  <p:nvPr/>
                </p:nvGrpSpPr>
                <p:grpSpPr>
                  <a:xfrm>
                    <a:off x="2524125" y="3648075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65" name="Straight Connector 564">
                      <a:extLst>
                        <a:ext uri="{FF2B5EF4-FFF2-40B4-BE49-F238E27FC236}">
                          <a16:creationId xmlns:a16="http://schemas.microsoft.com/office/drawing/2014/main" id="{E3F5E707-846F-9A38-B2E8-F59048D2462B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6" name="Straight Connector 565">
                      <a:extLst>
                        <a:ext uri="{FF2B5EF4-FFF2-40B4-BE49-F238E27FC236}">
                          <a16:creationId xmlns:a16="http://schemas.microsoft.com/office/drawing/2014/main" id="{F9009888-049B-CF87-1263-792CF9D90D09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3" name="Group 552">
                    <a:extLst>
                      <a:ext uri="{FF2B5EF4-FFF2-40B4-BE49-F238E27FC236}">
                        <a16:creationId xmlns:a16="http://schemas.microsoft.com/office/drawing/2014/main" id="{80168129-F887-81A3-4DEE-9D84FCD2B625}"/>
                      </a:ext>
                    </a:extLst>
                  </p:cNvPr>
                  <p:cNvGrpSpPr/>
                  <p:nvPr/>
                </p:nvGrpSpPr>
                <p:grpSpPr>
                  <a:xfrm>
                    <a:off x="3184525" y="4086225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63" name="Straight Connector 562">
                      <a:extLst>
                        <a:ext uri="{FF2B5EF4-FFF2-40B4-BE49-F238E27FC236}">
                          <a16:creationId xmlns:a16="http://schemas.microsoft.com/office/drawing/2014/main" id="{CD1D4594-396E-85C3-D507-6848A18760B3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4" name="Straight Connector 563">
                      <a:extLst>
                        <a:ext uri="{FF2B5EF4-FFF2-40B4-BE49-F238E27FC236}">
                          <a16:creationId xmlns:a16="http://schemas.microsoft.com/office/drawing/2014/main" id="{87567CD0-4B4F-D18B-D231-2D5DDF96726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4" name="Group 553">
                    <a:extLst>
                      <a:ext uri="{FF2B5EF4-FFF2-40B4-BE49-F238E27FC236}">
                        <a16:creationId xmlns:a16="http://schemas.microsoft.com/office/drawing/2014/main" id="{5FC4E5AD-6A11-3DBE-6E47-228C352C6F89}"/>
                      </a:ext>
                    </a:extLst>
                  </p:cNvPr>
                  <p:cNvGrpSpPr/>
                  <p:nvPr/>
                </p:nvGrpSpPr>
                <p:grpSpPr>
                  <a:xfrm>
                    <a:off x="3340100" y="4191000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61" name="Straight Connector 560">
                      <a:extLst>
                        <a:ext uri="{FF2B5EF4-FFF2-40B4-BE49-F238E27FC236}">
                          <a16:creationId xmlns:a16="http://schemas.microsoft.com/office/drawing/2014/main" id="{EBA7775E-C24B-FA6F-1F58-E350865FB51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2" name="Straight Connector 561">
                      <a:extLst>
                        <a:ext uri="{FF2B5EF4-FFF2-40B4-BE49-F238E27FC236}">
                          <a16:creationId xmlns:a16="http://schemas.microsoft.com/office/drawing/2014/main" id="{FA8B3F2A-0116-5D41-C146-6F29ABFA4A0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5" name="Group 554">
                    <a:extLst>
                      <a:ext uri="{FF2B5EF4-FFF2-40B4-BE49-F238E27FC236}">
                        <a16:creationId xmlns:a16="http://schemas.microsoft.com/office/drawing/2014/main" id="{922076EE-BCCB-42AD-8D07-939457662E14}"/>
                      </a:ext>
                    </a:extLst>
                  </p:cNvPr>
                  <p:cNvGrpSpPr/>
                  <p:nvPr/>
                </p:nvGrpSpPr>
                <p:grpSpPr>
                  <a:xfrm>
                    <a:off x="3536950" y="4254500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59" name="Straight Connector 558">
                      <a:extLst>
                        <a:ext uri="{FF2B5EF4-FFF2-40B4-BE49-F238E27FC236}">
                          <a16:creationId xmlns:a16="http://schemas.microsoft.com/office/drawing/2014/main" id="{2E19AD7F-28BA-1C58-B4E8-3C6DFC97E94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60" name="Straight Connector 559">
                      <a:extLst>
                        <a:ext uri="{FF2B5EF4-FFF2-40B4-BE49-F238E27FC236}">
                          <a16:creationId xmlns:a16="http://schemas.microsoft.com/office/drawing/2014/main" id="{7BB582FA-4F84-89BF-3FF3-E0040292CC8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556" name="Group 555">
                    <a:extLst>
                      <a:ext uri="{FF2B5EF4-FFF2-40B4-BE49-F238E27FC236}">
                        <a16:creationId xmlns:a16="http://schemas.microsoft.com/office/drawing/2014/main" id="{FE7CD545-4A3B-1CD9-369F-543445C24A5A}"/>
                      </a:ext>
                    </a:extLst>
                  </p:cNvPr>
                  <p:cNvGrpSpPr/>
                  <p:nvPr/>
                </p:nvGrpSpPr>
                <p:grpSpPr>
                  <a:xfrm>
                    <a:off x="4162425" y="4454525"/>
                    <a:ext cx="79375" cy="88900"/>
                    <a:chOff x="1337636" y="1955800"/>
                    <a:chExt cx="79375" cy="88900"/>
                  </a:xfrm>
                </p:grpSpPr>
                <p:cxnSp>
                  <p:nvCxnSpPr>
                    <p:cNvPr id="557" name="Straight Connector 556">
                      <a:extLst>
                        <a:ext uri="{FF2B5EF4-FFF2-40B4-BE49-F238E27FC236}">
                          <a16:creationId xmlns:a16="http://schemas.microsoft.com/office/drawing/2014/main" id="{D8EF99A7-AD5D-BD37-1DF4-2EF4993275E2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378911" y="1955800"/>
                      <a:ext cx="0" cy="8890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558" name="Straight Connector 557">
                      <a:extLst>
                        <a:ext uri="{FF2B5EF4-FFF2-40B4-BE49-F238E27FC236}">
                          <a16:creationId xmlns:a16="http://schemas.microsoft.com/office/drawing/2014/main" id="{249B7AF9-66E4-3EF1-A495-1D28242FFCA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337636" y="2000250"/>
                      <a:ext cx="79375" cy="0"/>
                    </a:xfrm>
                    <a:prstGeom prst="line">
                      <a:avLst/>
                    </a:prstGeom>
                    <a:ln w="19050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grpSp>
          <p:nvGrpSpPr>
            <p:cNvPr id="465" name="Group 464">
              <a:extLst>
                <a:ext uri="{FF2B5EF4-FFF2-40B4-BE49-F238E27FC236}">
                  <a16:creationId xmlns:a16="http://schemas.microsoft.com/office/drawing/2014/main" id="{870346AB-406C-14A3-F29F-41889DA43BD8}"/>
                </a:ext>
              </a:extLst>
            </p:cNvPr>
            <p:cNvGrpSpPr/>
            <p:nvPr/>
          </p:nvGrpSpPr>
          <p:grpSpPr>
            <a:xfrm>
              <a:off x="632840" y="885414"/>
              <a:ext cx="6934774" cy="4969930"/>
              <a:chOff x="632840" y="885414"/>
              <a:chExt cx="6934774" cy="4969930"/>
            </a:xfrm>
          </p:grpSpPr>
          <p:graphicFrame>
            <p:nvGraphicFramePr>
              <p:cNvPr id="466" name="Chart 465">
                <a:extLst>
                  <a:ext uri="{FF2B5EF4-FFF2-40B4-BE49-F238E27FC236}">
                    <a16:creationId xmlns:a16="http://schemas.microsoft.com/office/drawing/2014/main" id="{FB26F9A3-1FE9-1898-9E02-C7551A51CBD3}"/>
                  </a:ext>
                </a:extLst>
              </p:cNvPr>
              <p:cNvGraphicFramePr/>
              <p:nvPr/>
            </p:nvGraphicFramePr>
            <p:xfrm>
              <a:off x="927830" y="885414"/>
              <a:ext cx="6639784" cy="430507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grpSp>
            <p:nvGrpSpPr>
              <p:cNvPr id="467" name="Group 466">
                <a:extLst>
                  <a:ext uri="{FF2B5EF4-FFF2-40B4-BE49-F238E27FC236}">
                    <a16:creationId xmlns:a16="http://schemas.microsoft.com/office/drawing/2014/main" id="{9FA97732-800E-0B8C-35E6-32C3B172A403}"/>
                  </a:ext>
                </a:extLst>
              </p:cNvPr>
              <p:cNvGrpSpPr/>
              <p:nvPr/>
            </p:nvGrpSpPr>
            <p:grpSpPr>
              <a:xfrm>
                <a:off x="5903304" y="1581967"/>
                <a:ext cx="1501166" cy="521945"/>
                <a:chOff x="5978609" y="1753876"/>
                <a:chExt cx="1531022" cy="521945"/>
              </a:xfrm>
            </p:grpSpPr>
            <p:grpSp>
              <p:nvGrpSpPr>
                <p:cNvPr id="535" name="Group 534">
                  <a:extLst>
                    <a:ext uri="{FF2B5EF4-FFF2-40B4-BE49-F238E27FC236}">
                      <a16:creationId xmlns:a16="http://schemas.microsoft.com/office/drawing/2014/main" id="{3BC532B0-1D78-BCE7-9BDB-ADF04629B5D6}"/>
                    </a:ext>
                  </a:extLst>
                </p:cNvPr>
                <p:cNvGrpSpPr/>
                <p:nvPr/>
              </p:nvGrpSpPr>
              <p:grpSpPr>
                <a:xfrm>
                  <a:off x="5978609" y="1753876"/>
                  <a:ext cx="1531022" cy="161236"/>
                  <a:chOff x="5978609" y="1753876"/>
                  <a:chExt cx="1531022" cy="161236"/>
                </a:xfrm>
              </p:grpSpPr>
              <p:sp>
                <p:nvSpPr>
                  <p:cNvPr id="542" name="Rectangle 44">
                    <a:extLst>
                      <a:ext uri="{FF2B5EF4-FFF2-40B4-BE49-F238E27FC236}">
                        <a16:creationId xmlns:a16="http://schemas.microsoft.com/office/drawing/2014/main" id="{2B6ADBA1-A937-14C3-9BDA-5396B1F1E1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272029" y="1753876"/>
                    <a:ext cx="1237602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R/</a:t>
                    </a:r>
                    <a:r>
                      <a:rPr kumimoji="0" lang="en-US" altLang="en-US" sz="8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Rh</a:t>
                    </a: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r</a:t>
                    </a:r>
                    <a:r>
                      <a:rPr kumimoji="0" lang="en-US" altLang="en-US" sz="8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esponders</a:t>
                    </a:r>
                    <a:endPara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43" name="Line 68">
                    <a:extLst>
                      <a:ext uri="{FF2B5EF4-FFF2-40B4-BE49-F238E27FC236}">
                        <a16:creationId xmlns:a16="http://schemas.microsoft.com/office/drawing/2014/main" id="{5005F7B5-6447-F66F-0D0A-E799556DAD5D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978609" y="1828069"/>
                    <a:ext cx="247438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005E62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36" name="Group 535">
                  <a:extLst>
                    <a:ext uri="{FF2B5EF4-FFF2-40B4-BE49-F238E27FC236}">
                      <a16:creationId xmlns:a16="http://schemas.microsoft.com/office/drawing/2014/main" id="{B1267B97-11A4-F11E-3D6C-E41600343B31}"/>
                    </a:ext>
                  </a:extLst>
                </p:cNvPr>
                <p:cNvGrpSpPr/>
                <p:nvPr/>
              </p:nvGrpSpPr>
              <p:grpSpPr>
                <a:xfrm>
                  <a:off x="5978609" y="1958157"/>
                  <a:ext cx="1366151" cy="161236"/>
                  <a:chOff x="5978609" y="1753876"/>
                  <a:chExt cx="1366151" cy="161236"/>
                </a:xfrm>
              </p:grpSpPr>
              <p:sp>
                <p:nvSpPr>
                  <p:cNvPr id="540" name="Rectangle 44">
                    <a:extLst>
                      <a:ext uri="{FF2B5EF4-FFF2-40B4-BE49-F238E27FC236}">
                        <a16:creationId xmlns:a16="http://schemas.microsoft.com/office/drawing/2014/main" id="{FEC458DE-1243-834F-8EC3-349404816D8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272029" y="1753876"/>
                    <a:ext cx="1072731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Other responders</a:t>
                    </a:r>
                  </a:p>
                </p:txBody>
              </p:sp>
              <p:sp>
                <p:nvSpPr>
                  <p:cNvPr id="541" name="Line 68">
                    <a:extLst>
                      <a:ext uri="{FF2B5EF4-FFF2-40B4-BE49-F238E27FC236}">
                        <a16:creationId xmlns:a16="http://schemas.microsoft.com/office/drawing/2014/main" id="{522F0C49-59C9-11FA-CEC5-D97A9EC772C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978609" y="1840249"/>
                    <a:ext cx="247438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4D8D75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grpSp>
              <p:nvGrpSpPr>
                <p:cNvPr id="537" name="Group 536">
                  <a:extLst>
                    <a:ext uri="{FF2B5EF4-FFF2-40B4-BE49-F238E27FC236}">
                      <a16:creationId xmlns:a16="http://schemas.microsoft.com/office/drawing/2014/main" id="{4D438CD3-8FC6-1E5A-90D6-B94C48BB0D83}"/>
                    </a:ext>
                  </a:extLst>
                </p:cNvPr>
                <p:cNvGrpSpPr/>
                <p:nvPr/>
              </p:nvGrpSpPr>
              <p:grpSpPr>
                <a:xfrm>
                  <a:off x="5978609" y="2152710"/>
                  <a:ext cx="1012769" cy="123111"/>
                  <a:chOff x="5978609" y="1753876"/>
                  <a:chExt cx="1012769" cy="123111"/>
                </a:xfrm>
              </p:grpSpPr>
              <p:sp>
                <p:nvSpPr>
                  <p:cNvPr id="538" name="Rectangle 44">
                    <a:extLst>
                      <a:ext uri="{FF2B5EF4-FFF2-40B4-BE49-F238E27FC236}">
                        <a16:creationId xmlns:a16="http://schemas.microsoft.com/office/drawing/2014/main" id="{66FFD3E9-DA0E-9295-A5A3-E1416606EF9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272029" y="1753876"/>
                    <a:ext cx="719349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 err="1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Nonresponders</a:t>
                    </a:r>
                    <a:endPara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39" name="Line 68">
                    <a:extLst>
                      <a:ext uri="{FF2B5EF4-FFF2-40B4-BE49-F238E27FC236}">
                        <a16:creationId xmlns:a16="http://schemas.microsoft.com/office/drawing/2014/main" id="{FB7FBBEA-DCBB-54EA-60A9-9EBB2DB38086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5978609" y="1845635"/>
                    <a:ext cx="247438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7F7F7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</p:grpSp>
          <p:sp>
            <p:nvSpPr>
              <p:cNvPr id="468" name="TextBox 467">
                <a:extLst>
                  <a:ext uri="{FF2B5EF4-FFF2-40B4-BE49-F238E27FC236}">
                    <a16:creationId xmlns:a16="http://schemas.microsoft.com/office/drawing/2014/main" id="{B2AE4A97-1A41-2A53-350E-876E11130031}"/>
                  </a:ext>
                </a:extLst>
              </p:cNvPr>
              <p:cNvSpPr txBox="1"/>
              <p:nvPr/>
            </p:nvSpPr>
            <p:spPr bwMode="auto">
              <a:xfrm rot="16200000">
                <a:off x="-74036" y="2998327"/>
                <a:ext cx="1726148" cy="31239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5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Survival Probability</a:t>
                </a:r>
              </a:p>
            </p:txBody>
          </p:sp>
          <p:sp>
            <p:nvSpPr>
              <p:cNvPr id="469" name="TextBox 468">
                <a:extLst>
                  <a:ext uri="{FF2B5EF4-FFF2-40B4-BE49-F238E27FC236}">
                    <a16:creationId xmlns:a16="http://schemas.microsoft.com/office/drawing/2014/main" id="{CE1AE510-2963-FEE1-5B40-E0AA15964312}"/>
                  </a:ext>
                </a:extLst>
              </p:cNvPr>
              <p:cNvSpPr txBox="1"/>
              <p:nvPr/>
            </p:nvSpPr>
            <p:spPr bwMode="auto">
              <a:xfrm>
                <a:off x="3958241" y="5026057"/>
                <a:ext cx="891590" cy="2154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 algn="ctr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+mn-cs"/>
                  </a:rPr>
                  <a:t>Time (months)</a:t>
                </a:r>
              </a:p>
            </p:txBody>
          </p:sp>
          <p:grpSp>
            <p:nvGrpSpPr>
              <p:cNvPr id="470" name="Group 469">
                <a:extLst>
                  <a:ext uri="{FF2B5EF4-FFF2-40B4-BE49-F238E27FC236}">
                    <a16:creationId xmlns:a16="http://schemas.microsoft.com/office/drawing/2014/main" id="{CD4E6301-900B-565B-5612-E9CBABF9EC80}"/>
                  </a:ext>
                </a:extLst>
              </p:cNvPr>
              <p:cNvGrpSpPr/>
              <p:nvPr/>
            </p:nvGrpSpPr>
            <p:grpSpPr>
              <a:xfrm>
                <a:off x="6694319" y="4319174"/>
                <a:ext cx="567304" cy="123111"/>
                <a:chOff x="6682831" y="2849551"/>
                <a:chExt cx="589634" cy="114619"/>
              </a:xfrm>
            </p:grpSpPr>
            <p:sp>
              <p:nvSpPr>
                <p:cNvPr id="531" name="Rectangle 42">
                  <a:extLst>
                    <a:ext uri="{FF2B5EF4-FFF2-40B4-BE49-F238E27FC236}">
                      <a16:creationId xmlns:a16="http://schemas.microsoft.com/office/drawing/2014/main" id="{4B4789FE-EEE7-E18A-2B11-C6842C3166D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807623" y="2849551"/>
                  <a:ext cx="464842" cy="11461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457109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ensored</a:t>
                  </a:r>
                </a:p>
              </p:txBody>
            </p:sp>
            <p:grpSp>
              <p:nvGrpSpPr>
                <p:cNvPr id="532" name="Group 531">
                  <a:extLst>
                    <a:ext uri="{FF2B5EF4-FFF2-40B4-BE49-F238E27FC236}">
                      <a16:creationId xmlns:a16="http://schemas.microsoft.com/office/drawing/2014/main" id="{667B3088-1B5D-6C18-0724-C6544D6B67C5}"/>
                    </a:ext>
                  </a:extLst>
                </p:cNvPr>
                <p:cNvGrpSpPr/>
                <p:nvPr/>
              </p:nvGrpSpPr>
              <p:grpSpPr>
                <a:xfrm>
                  <a:off x="6682831" y="2876508"/>
                  <a:ext cx="81117" cy="85926"/>
                  <a:chOff x="14281151" y="3830638"/>
                  <a:chExt cx="95250" cy="95250"/>
                </a:xfrm>
              </p:grpSpPr>
              <p:sp>
                <p:nvSpPr>
                  <p:cNvPr id="533" name="Line 64">
                    <a:extLst>
                      <a:ext uri="{FF2B5EF4-FFF2-40B4-BE49-F238E27FC236}">
                        <a16:creationId xmlns:a16="http://schemas.microsoft.com/office/drawing/2014/main" id="{158846F9-7BEC-2D9D-79F5-A929695D09A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4328776" y="3830638"/>
                    <a:ext cx="0" cy="95250"/>
                  </a:xfrm>
                  <a:prstGeom prst="line">
                    <a:avLst/>
                  </a:prstGeom>
                  <a:noFill/>
                  <a:ln w="22225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534" name="Line 65">
                    <a:extLst>
                      <a:ext uri="{FF2B5EF4-FFF2-40B4-BE49-F238E27FC236}">
                        <a16:creationId xmlns:a16="http://schemas.microsoft.com/office/drawing/2014/main" id="{6AE5565B-3577-AF61-6A8C-E83DA1220C2F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14281151" y="3878263"/>
                    <a:ext cx="95250" cy="0"/>
                  </a:xfrm>
                  <a:prstGeom prst="line">
                    <a:avLst/>
                  </a:prstGeom>
                  <a:noFill/>
                  <a:ln w="22225" cap="flat">
                    <a:solidFill>
                      <a:schemeClr val="tx1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</p:grpSp>
          <p:grpSp>
            <p:nvGrpSpPr>
              <p:cNvPr id="471" name="Group 470">
                <a:extLst>
                  <a:ext uri="{FF2B5EF4-FFF2-40B4-BE49-F238E27FC236}">
                    <a16:creationId xmlns:a16="http://schemas.microsoft.com/office/drawing/2014/main" id="{C66C19D1-E5B0-EE4F-5B2A-19E86E9BE850}"/>
                  </a:ext>
                </a:extLst>
              </p:cNvPr>
              <p:cNvGrpSpPr/>
              <p:nvPr/>
            </p:nvGrpSpPr>
            <p:grpSpPr>
              <a:xfrm>
                <a:off x="773859" y="5382568"/>
                <a:ext cx="6684708" cy="472776"/>
                <a:chOff x="773859" y="5623195"/>
                <a:chExt cx="6684708" cy="472776"/>
              </a:xfrm>
            </p:grpSpPr>
            <p:sp>
              <p:nvSpPr>
                <p:cNvPr id="473" name="Rectangle 48">
                  <a:extLst>
                    <a:ext uri="{FF2B5EF4-FFF2-40B4-BE49-F238E27FC236}">
                      <a16:creationId xmlns:a16="http://schemas.microsoft.com/office/drawing/2014/main" id="{A7F67B09-A319-E50B-78B2-B2200215628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9662" y="5623195"/>
                  <a:ext cx="115416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109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51</a:t>
                  </a:r>
                </a:p>
              </p:txBody>
            </p:sp>
            <p:sp>
              <p:nvSpPr>
                <p:cNvPr id="474" name="Line 65">
                  <a:extLst>
                    <a:ext uri="{FF2B5EF4-FFF2-40B4-BE49-F238E27FC236}">
                      <a16:creationId xmlns:a16="http://schemas.microsoft.com/office/drawing/2014/main" id="{A2CCF6B0-EBA9-BC06-5C51-BC8A5C883F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73859" y="5697734"/>
                  <a:ext cx="261081" cy="0"/>
                </a:xfrm>
                <a:prstGeom prst="line">
                  <a:avLst/>
                </a:prstGeom>
                <a:noFill/>
                <a:ln w="38100" cap="flat">
                  <a:solidFill>
                    <a:srgbClr val="005E6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45714" tIns="22857" rIns="45714" bIns="22857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5" name="Rectangle 48">
                  <a:extLst>
                    <a:ext uri="{FF2B5EF4-FFF2-40B4-BE49-F238E27FC236}">
                      <a16:creationId xmlns:a16="http://schemas.microsoft.com/office/drawing/2014/main" id="{189BF988-4D2C-8274-1724-C17842D4F39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9662" y="5791200"/>
                  <a:ext cx="115416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109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0</a:t>
                  </a:r>
                </a:p>
              </p:txBody>
            </p:sp>
            <p:sp>
              <p:nvSpPr>
                <p:cNvPr id="476" name="Line 65">
                  <a:extLst>
                    <a:ext uri="{FF2B5EF4-FFF2-40B4-BE49-F238E27FC236}">
                      <a16:creationId xmlns:a16="http://schemas.microsoft.com/office/drawing/2014/main" id="{7F1B94A7-B914-A654-68FC-E1F2B95D5185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73859" y="5865739"/>
                  <a:ext cx="261081" cy="0"/>
                </a:xfrm>
                <a:prstGeom prst="line">
                  <a:avLst/>
                </a:prstGeom>
                <a:noFill/>
                <a:ln w="38100" cap="flat">
                  <a:solidFill>
                    <a:schemeClr val="bg2"/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45714" tIns="22857" rIns="45714" bIns="22857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7" name="Rectangle 48">
                  <a:extLst>
                    <a:ext uri="{FF2B5EF4-FFF2-40B4-BE49-F238E27FC236}">
                      <a16:creationId xmlns:a16="http://schemas.microsoft.com/office/drawing/2014/main" id="{9629305A-7F17-AC17-ADE8-3DC8F367BE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9662" y="5972860"/>
                  <a:ext cx="115416" cy="1231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457109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altLang="en-US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76</a:t>
                  </a:r>
                </a:p>
              </p:txBody>
            </p:sp>
            <p:grpSp>
              <p:nvGrpSpPr>
                <p:cNvPr id="478" name="Group 477">
                  <a:extLst>
                    <a:ext uri="{FF2B5EF4-FFF2-40B4-BE49-F238E27FC236}">
                      <a16:creationId xmlns:a16="http://schemas.microsoft.com/office/drawing/2014/main" id="{EABD4FB9-81A0-37AC-F370-0227E1CAD656}"/>
                    </a:ext>
                  </a:extLst>
                </p:cNvPr>
                <p:cNvGrpSpPr/>
                <p:nvPr/>
              </p:nvGrpSpPr>
              <p:grpSpPr>
                <a:xfrm>
                  <a:off x="2321831" y="5623195"/>
                  <a:ext cx="115416" cy="472776"/>
                  <a:chOff x="2387668" y="5623195"/>
                  <a:chExt cx="115416" cy="472776"/>
                </a:xfrm>
              </p:grpSpPr>
              <p:sp>
                <p:nvSpPr>
                  <p:cNvPr id="528" name="Rectangle 50">
                    <a:extLst>
                      <a:ext uri="{FF2B5EF4-FFF2-40B4-BE49-F238E27FC236}">
                        <a16:creationId xmlns:a16="http://schemas.microsoft.com/office/drawing/2014/main" id="{886A48EB-5B37-D3D7-F161-6E456613B7D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87668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51</a:t>
                    </a:r>
                  </a:p>
                </p:txBody>
              </p:sp>
              <p:sp>
                <p:nvSpPr>
                  <p:cNvPr id="529" name="Rectangle 50">
                    <a:extLst>
                      <a:ext uri="{FF2B5EF4-FFF2-40B4-BE49-F238E27FC236}">
                        <a16:creationId xmlns:a16="http://schemas.microsoft.com/office/drawing/2014/main" id="{AC0A834D-62F3-53F4-641B-7EC292DB217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87668" y="579120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6</a:t>
                    </a:r>
                  </a:p>
                </p:txBody>
              </p:sp>
              <p:sp>
                <p:nvSpPr>
                  <p:cNvPr id="530" name="Rectangle 50">
                    <a:extLst>
                      <a:ext uri="{FF2B5EF4-FFF2-40B4-BE49-F238E27FC236}">
                        <a16:creationId xmlns:a16="http://schemas.microsoft.com/office/drawing/2014/main" id="{9DFF9D2B-E4E3-268E-9595-FC89296C882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387668" y="597286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26</a:t>
                    </a:r>
                  </a:p>
                </p:txBody>
              </p:sp>
            </p:grpSp>
            <p:grpSp>
              <p:nvGrpSpPr>
                <p:cNvPr id="479" name="Group 478">
                  <a:extLst>
                    <a:ext uri="{FF2B5EF4-FFF2-40B4-BE49-F238E27FC236}">
                      <a16:creationId xmlns:a16="http://schemas.microsoft.com/office/drawing/2014/main" id="{01094EE7-3A38-7276-BB3E-9F22133F9AE8}"/>
                    </a:ext>
                  </a:extLst>
                </p:cNvPr>
                <p:cNvGrpSpPr/>
                <p:nvPr/>
              </p:nvGrpSpPr>
              <p:grpSpPr>
                <a:xfrm>
                  <a:off x="5503486" y="5623195"/>
                  <a:ext cx="115416" cy="472776"/>
                  <a:chOff x="5635160" y="5623195"/>
                  <a:chExt cx="115416" cy="472776"/>
                </a:xfrm>
              </p:grpSpPr>
              <p:sp>
                <p:nvSpPr>
                  <p:cNvPr id="525" name="Rectangle 52">
                    <a:extLst>
                      <a:ext uri="{FF2B5EF4-FFF2-40B4-BE49-F238E27FC236}">
                        <a16:creationId xmlns:a16="http://schemas.microsoft.com/office/drawing/2014/main" id="{E598849E-60D8-1872-D651-F2A5266497C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635160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4</a:t>
                    </a:r>
                  </a:p>
                </p:txBody>
              </p:sp>
              <p:sp>
                <p:nvSpPr>
                  <p:cNvPr id="526" name="Rectangle 52">
                    <a:extLst>
                      <a:ext uri="{FF2B5EF4-FFF2-40B4-BE49-F238E27FC236}">
                        <a16:creationId xmlns:a16="http://schemas.microsoft.com/office/drawing/2014/main" id="{6B5C937B-FE86-F788-8600-86AC8308B9F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664014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</a:t>
                    </a:r>
                  </a:p>
                </p:txBody>
              </p:sp>
              <p:sp>
                <p:nvSpPr>
                  <p:cNvPr id="527" name="Rectangle 52">
                    <a:extLst>
                      <a:ext uri="{FF2B5EF4-FFF2-40B4-BE49-F238E27FC236}">
                        <a16:creationId xmlns:a16="http://schemas.microsoft.com/office/drawing/2014/main" id="{C95F1C79-C8D4-3755-3132-4A3B508A4C7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664014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480" name="Group 479">
                  <a:extLst>
                    <a:ext uri="{FF2B5EF4-FFF2-40B4-BE49-F238E27FC236}">
                      <a16:creationId xmlns:a16="http://schemas.microsoft.com/office/drawing/2014/main" id="{EB1086A1-B352-B4A7-CB1A-AE3835DA164A}"/>
                    </a:ext>
                  </a:extLst>
                </p:cNvPr>
                <p:cNvGrpSpPr/>
                <p:nvPr/>
              </p:nvGrpSpPr>
              <p:grpSpPr>
                <a:xfrm>
                  <a:off x="5973213" y="5623195"/>
                  <a:ext cx="115416" cy="472776"/>
                  <a:chOff x="6097572" y="5623195"/>
                  <a:chExt cx="115416" cy="472776"/>
                </a:xfrm>
              </p:grpSpPr>
              <p:sp>
                <p:nvSpPr>
                  <p:cNvPr id="522" name="Rectangle 53">
                    <a:extLst>
                      <a:ext uri="{FF2B5EF4-FFF2-40B4-BE49-F238E27FC236}">
                        <a16:creationId xmlns:a16="http://schemas.microsoft.com/office/drawing/2014/main" id="{EB66D030-01D7-1E79-15A8-63494B7C3D0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097572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3</a:t>
                    </a:r>
                  </a:p>
                </p:txBody>
              </p:sp>
              <p:sp>
                <p:nvSpPr>
                  <p:cNvPr id="523" name="Rectangle 53">
                    <a:extLst>
                      <a:ext uri="{FF2B5EF4-FFF2-40B4-BE49-F238E27FC236}">
                        <a16:creationId xmlns:a16="http://schemas.microsoft.com/office/drawing/2014/main" id="{1FBF45C2-8FC3-DFB4-1AAE-EFFF79E2B78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26426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  <p:sp>
                <p:nvSpPr>
                  <p:cNvPr id="524" name="Rectangle 53">
                    <a:extLst>
                      <a:ext uri="{FF2B5EF4-FFF2-40B4-BE49-F238E27FC236}">
                        <a16:creationId xmlns:a16="http://schemas.microsoft.com/office/drawing/2014/main" id="{E6CF309D-A07B-957A-2157-87936EFC11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126426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481" name="Group 480">
                  <a:extLst>
                    <a:ext uri="{FF2B5EF4-FFF2-40B4-BE49-F238E27FC236}">
                      <a16:creationId xmlns:a16="http://schemas.microsoft.com/office/drawing/2014/main" id="{062ED728-B6D9-BFD5-8DD1-D60DD1E5892D}"/>
                    </a:ext>
                  </a:extLst>
                </p:cNvPr>
                <p:cNvGrpSpPr/>
                <p:nvPr/>
              </p:nvGrpSpPr>
              <p:grpSpPr>
                <a:xfrm>
                  <a:off x="6937594" y="5623195"/>
                  <a:ext cx="57708" cy="472776"/>
                  <a:chOff x="7347245" y="5623195"/>
                  <a:chExt cx="57708" cy="472776"/>
                </a:xfrm>
              </p:grpSpPr>
              <p:sp>
                <p:nvSpPr>
                  <p:cNvPr id="519" name="Rectangle 55">
                    <a:extLst>
                      <a:ext uri="{FF2B5EF4-FFF2-40B4-BE49-F238E27FC236}">
                        <a16:creationId xmlns:a16="http://schemas.microsoft.com/office/drawing/2014/main" id="{A9900892-6B17-A037-80F8-DB781F3691F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623195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</a:t>
                    </a:r>
                  </a:p>
                </p:txBody>
              </p:sp>
              <p:sp>
                <p:nvSpPr>
                  <p:cNvPr id="520" name="Rectangle 55">
                    <a:extLst>
                      <a:ext uri="{FF2B5EF4-FFF2-40B4-BE49-F238E27FC236}">
                        <a16:creationId xmlns:a16="http://schemas.microsoft.com/office/drawing/2014/main" id="{799198BB-1EBE-20B9-DD43-2608A5F7024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  <p:sp>
                <p:nvSpPr>
                  <p:cNvPr id="521" name="Rectangle 55">
                    <a:extLst>
                      <a:ext uri="{FF2B5EF4-FFF2-40B4-BE49-F238E27FC236}">
                        <a16:creationId xmlns:a16="http://schemas.microsoft.com/office/drawing/2014/main" id="{9A98D57E-BB23-67E9-DBBD-4135853511B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482" name="Group 481">
                  <a:extLst>
                    <a:ext uri="{FF2B5EF4-FFF2-40B4-BE49-F238E27FC236}">
                      <a16:creationId xmlns:a16="http://schemas.microsoft.com/office/drawing/2014/main" id="{6A1F5BD7-DDA1-026A-E6C0-838B0216CBC8}"/>
                    </a:ext>
                  </a:extLst>
                </p:cNvPr>
                <p:cNvGrpSpPr/>
                <p:nvPr/>
              </p:nvGrpSpPr>
              <p:grpSpPr>
                <a:xfrm>
                  <a:off x="6456905" y="5623195"/>
                  <a:ext cx="57708" cy="472776"/>
                  <a:chOff x="6595893" y="5623195"/>
                  <a:chExt cx="57708" cy="472776"/>
                </a:xfrm>
              </p:grpSpPr>
              <p:sp>
                <p:nvSpPr>
                  <p:cNvPr id="516" name="Rectangle 62">
                    <a:extLst>
                      <a:ext uri="{FF2B5EF4-FFF2-40B4-BE49-F238E27FC236}">
                        <a16:creationId xmlns:a16="http://schemas.microsoft.com/office/drawing/2014/main" id="{C398D9D5-C2A2-AA62-EE86-C2F5F3CF375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595893" y="5623195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</a:t>
                    </a:r>
                  </a:p>
                </p:txBody>
              </p:sp>
              <p:sp>
                <p:nvSpPr>
                  <p:cNvPr id="517" name="Rectangle 62">
                    <a:extLst>
                      <a:ext uri="{FF2B5EF4-FFF2-40B4-BE49-F238E27FC236}">
                        <a16:creationId xmlns:a16="http://schemas.microsoft.com/office/drawing/2014/main" id="{AC169FB3-25A6-6077-F1EE-CE37E6455DA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595893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  <p:sp>
                <p:nvSpPr>
                  <p:cNvPr id="518" name="Rectangle 62">
                    <a:extLst>
                      <a:ext uri="{FF2B5EF4-FFF2-40B4-BE49-F238E27FC236}">
                        <a16:creationId xmlns:a16="http://schemas.microsoft.com/office/drawing/2014/main" id="{CBCDC638-B269-8613-446F-149BC6ED032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595893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sp>
              <p:nvSpPr>
                <p:cNvPr id="483" name="Line 65">
                  <a:extLst>
                    <a:ext uri="{FF2B5EF4-FFF2-40B4-BE49-F238E27FC236}">
                      <a16:creationId xmlns:a16="http://schemas.microsoft.com/office/drawing/2014/main" id="{3813CA4A-B7FA-0016-FE20-FD63B93BD9E6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773859" y="6047399"/>
                  <a:ext cx="261081" cy="0"/>
                </a:xfrm>
                <a:prstGeom prst="line">
                  <a:avLst/>
                </a:prstGeom>
                <a:noFill/>
                <a:ln w="38100" cap="flat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 lim="800000"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45714" tIns="22857" rIns="45714" bIns="22857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en-US"/>
                  </a:defPPr>
                  <a:lvl1pPr marL="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0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081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1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16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520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224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19928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6320" algn="l" defTabSz="914081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>
                        <a:lumMod val="65000"/>
                        <a:lumOff val="35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484" name="Group 483">
                  <a:extLst>
                    <a:ext uri="{FF2B5EF4-FFF2-40B4-BE49-F238E27FC236}">
                      <a16:creationId xmlns:a16="http://schemas.microsoft.com/office/drawing/2014/main" id="{463A21B7-CD0C-C01D-EFE2-FA418FB6CEE8}"/>
                    </a:ext>
                  </a:extLst>
                </p:cNvPr>
                <p:cNvGrpSpPr/>
                <p:nvPr/>
              </p:nvGrpSpPr>
              <p:grpSpPr>
                <a:xfrm>
                  <a:off x="1859302" y="5623195"/>
                  <a:ext cx="115416" cy="472776"/>
                  <a:chOff x="1910509" y="5623195"/>
                  <a:chExt cx="115416" cy="472776"/>
                </a:xfrm>
              </p:grpSpPr>
              <p:sp>
                <p:nvSpPr>
                  <p:cNvPr id="513" name="Rectangle 48">
                    <a:extLst>
                      <a:ext uri="{FF2B5EF4-FFF2-40B4-BE49-F238E27FC236}">
                        <a16:creationId xmlns:a16="http://schemas.microsoft.com/office/drawing/2014/main" id="{B458BA26-03FF-2124-7D44-B4620D37039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910509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51</a:t>
                    </a:r>
                  </a:p>
                </p:txBody>
              </p:sp>
              <p:sp>
                <p:nvSpPr>
                  <p:cNvPr id="514" name="Rectangle 48">
                    <a:extLst>
                      <a:ext uri="{FF2B5EF4-FFF2-40B4-BE49-F238E27FC236}">
                        <a16:creationId xmlns:a16="http://schemas.microsoft.com/office/drawing/2014/main" id="{35CEB2C4-F191-5679-1A77-5884B4A9177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910509" y="579120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9</a:t>
                    </a:r>
                  </a:p>
                </p:txBody>
              </p:sp>
              <p:sp>
                <p:nvSpPr>
                  <p:cNvPr id="515" name="Rectangle 48">
                    <a:extLst>
                      <a:ext uri="{FF2B5EF4-FFF2-40B4-BE49-F238E27FC236}">
                        <a16:creationId xmlns:a16="http://schemas.microsoft.com/office/drawing/2014/main" id="{DD512877-7543-403C-F55A-BAB83C9202F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910509" y="597286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45</a:t>
                    </a:r>
                  </a:p>
                </p:txBody>
              </p:sp>
            </p:grpSp>
            <p:grpSp>
              <p:nvGrpSpPr>
                <p:cNvPr id="485" name="Group 484">
                  <a:extLst>
                    <a:ext uri="{FF2B5EF4-FFF2-40B4-BE49-F238E27FC236}">
                      <a16:creationId xmlns:a16="http://schemas.microsoft.com/office/drawing/2014/main" id="{D78EF2AA-2D4C-8D30-959F-61039424A536}"/>
                    </a:ext>
                  </a:extLst>
                </p:cNvPr>
                <p:cNvGrpSpPr/>
                <p:nvPr/>
              </p:nvGrpSpPr>
              <p:grpSpPr>
                <a:xfrm>
                  <a:off x="2773707" y="5623195"/>
                  <a:ext cx="115416" cy="472776"/>
                  <a:chOff x="2854174" y="5623195"/>
                  <a:chExt cx="115416" cy="472776"/>
                </a:xfrm>
              </p:grpSpPr>
              <p:sp>
                <p:nvSpPr>
                  <p:cNvPr id="510" name="Rectangle 48">
                    <a:extLst>
                      <a:ext uri="{FF2B5EF4-FFF2-40B4-BE49-F238E27FC236}">
                        <a16:creationId xmlns:a16="http://schemas.microsoft.com/office/drawing/2014/main" id="{418ED328-7801-77DD-2B2A-DCBB229D542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54174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47</a:t>
                    </a:r>
                  </a:p>
                </p:txBody>
              </p:sp>
              <p:sp>
                <p:nvSpPr>
                  <p:cNvPr id="511" name="Rectangle 48">
                    <a:extLst>
                      <a:ext uri="{FF2B5EF4-FFF2-40B4-BE49-F238E27FC236}">
                        <a16:creationId xmlns:a16="http://schemas.microsoft.com/office/drawing/2014/main" id="{B358EDC7-3EBA-AE34-8C4D-89CFA534C9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54174" y="579120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4</a:t>
                    </a:r>
                  </a:p>
                </p:txBody>
              </p:sp>
              <p:sp>
                <p:nvSpPr>
                  <p:cNvPr id="512" name="Rectangle 48">
                    <a:extLst>
                      <a:ext uri="{FF2B5EF4-FFF2-40B4-BE49-F238E27FC236}">
                        <a16:creationId xmlns:a16="http://schemas.microsoft.com/office/drawing/2014/main" id="{34D37E45-B5B2-0905-9969-91ACFE31468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854174" y="597286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8</a:t>
                    </a:r>
                  </a:p>
                </p:txBody>
              </p:sp>
            </p:grpSp>
            <p:grpSp>
              <p:nvGrpSpPr>
                <p:cNvPr id="486" name="Group 485">
                  <a:extLst>
                    <a:ext uri="{FF2B5EF4-FFF2-40B4-BE49-F238E27FC236}">
                      <a16:creationId xmlns:a16="http://schemas.microsoft.com/office/drawing/2014/main" id="{FEB3E7F2-3155-B74C-128D-37365E929110}"/>
                    </a:ext>
                  </a:extLst>
                </p:cNvPr>
                <p:cNvGrpSpPr/>
                <p:nvPr/>
              </p:nvGrpSpPr>
              <p:grpSpPr>
                <a:xfrm>
                  <a:off x="5045069" y="5623195"/>
                  <a:ext cx="115416" cy="472776"/>
                  <a:chOff x="5162113" y="5623195"/>
                  <a:chExt cx="115416" cy="472776"/>
                </a:xfrm>
              </p:grpSpPr>
              <p:sp>
                <p:nvSpPr>
                  <p:cNvPr id="507" name="Rectangle 51">
                    <a:extLst>
                      <a:ext uri="{FF2B5EF4-FFF2-40B4-BE49-F238E27FC236}">
                        <a16:creationId xmlns:a16="http://schemas.microsoft.com/office/drawing/2014/main" id="{77F38A37-C4C3-A513-1B3E-CFB4854552E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62113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8</a:t>
                    </a:r>
                  </a:p>
                </p:txBody>
              </p:sp>
              <p:sp>
                <p:nvSpPr>
                  <p:cNvPr id="508" name="Rectangle 51">
                    <a:extLst>
                      <a:ext uri="{FF2B5EF4-FFF2-40B4-BE49-F238E27FC236}">
                        <a16:creationId xmlns:a16="http://schemas.microsoft.com/office/drawing/2014/main" id="{684D56F9-BBD7-6AEF-7ACC-8362F49818D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90967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2</a:t>
                    </a:r>
                  </a:p>
                </p:txBody>
              </p:sp>
              <p:sp>
                <p:nvSpPr>
                  <p:cNvPr id="509" name="Rectangle 51">
                    <a:extLst>
                      <a:ext uri="{FF2B5EF4-FFF2-40B4-BE49-F238E27FC236}">
                        <a16:creationId xmlns:a16="http://schemas.microsoft.com/office/drawing/2014/main" id="{EC711563-AC4F-FB8F-6658-DB3A95E661E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90967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487" name="Group 486">
                  <a:extLst>
                    <a:ext uri="{FF2B5EF4-FFF2-40B4-BE49-F238E27FC236}">
                      <a16:creationId xmlns:a16="http://schemas.microsoft.com/office/drawing/2014/main" id="{B594F001-2755-5CA0-A626-7F2BB4A34959}"/>
                    </a:ext>
                  </a:extLst>
                </p:cNvPr>
                <p:cNvGrpSpPr/>
                <p:nvPr/>
              </p:nvGrpSpPr>
              <p:grpSpPr>
                <a:xfrm>
                  <a:off x="4156275" y="5623195"/>
                  <a:ext cx="115416" cy="472776"/>
                  <a:chOff x="4222112" y="5623195"/>
                  <a:chExt cx="115416" cy="472776"/>
                </a:xfrm>
              </p:grpSpPr>
              <p:sp>
                <p:nvSpPr>
                  <p:cNvPr id="504" name="Rectangle 51">
                    <a:extLst>
                      <a:ext uri="{FF2B5EF4-FFF2-40B4-BE49-F238E27FC236}">
                        <a16:creationId xmlns:a16="http://schemas.microsoft.com/office/drawing/2014/main" id="{3BDA4B51-D058-DAFE-409E-F25CB0D0F30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22112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31</a:t>
                    </a:r>
                  </a:p>
                </p:txBody>
              </p:sp>
              <p:sp>
                <p:nvSpPr>
                  <p:cNvPr id="505" name="Rectangle 51">
                    <a:extLst>
                      <a:ext uri="{FF2B5EF4-FFF2-40B4-BE49-F238E27FC236}">
                        <a16:creationId xmlns:a16="http://schemas.microsoft.com/office/drawing/2014/main" id="{44EA0F7E-FB26-DFD3-4F93-B421FD4EF52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50966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6</a:t>
                    </a:r>
                  </a:p>
                </p:txBody>
              </p:sp>
              <p:sp>
                <p:nvSpPr>
                  <p:cNvPr id="506" name="Rectangle 51">
                    <a:extLst>
                      <a:ext uri="{FF2B5EF4-FFF2-40B4-BE49-F238E27FC236}">
                        <a16:creationId xmlns:a16="http://schemas.microsoft.com/office/drawing/2014/main" id="{A8146FC2-1E41-E689-8262-C18464D317D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50966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2</a:t>
                    </a:r>
                  </a:p>
                </p:txBody>
              </p:sp>
            </p:grpSp>
            <p:grpSp>
              <p:nvGrpSpPr>
                <p:cNvPr id="488" name="Group 487">
                  <a:extLst>
                    <a:ext uri="{FF2B5EF4-FFF2-40B4-BE49-F238E27FC236}">
                      <a16:creationId xmlns:a16="http://schemas.microsoft.com/office/drawing/2014/main" id="{767CF70C-843D-9568-80A2-8C3A6436D488}"/>
                    </a:ext>
                  </a:extLst>
                </p:cNvPr>
                <p:cNvGrpSpPr/>
                <p:nvPr/>
              </p:nvGrpSpPr>
              <p:grpSpPr>
                <a:xfrm>
                  <a:off x="3703343" y="5623195"/>
                  <a:ext cx="115416" cy="472776"/>
                  <a:chOff x="3776495" y="5623195"/>
                  <a:chExt cx="115416" cy="472776"/>
                </a:xfrm>
              </p:grpSpPr>
              <p:sp>
                <p:nvSpPr>
                  <p:cNvPr id="501" name="Rectangle 51">
                    <a:extLst>
                      <a:ext uri="{FF2B5EF4-FFF2-40B4-BE49-F238E27FC236}">
                        <a16:creationId xmlns:a16="http://schemas.microsoft.com/office/drawing/2014/main" id="{B7A7B2AE-420C-7076-C75C-91E094A1394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776495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40</a:t>
                    </a:r>
                  </a:p>
                </p:txBody>
              </p:sp>
              <p:sp>
                <p:nvSpPr>
                  <p:cNvPr id="502" name="Rectangle 51">
                    <a:extLst>
                      <a:ext uri="{FF2B5EF4-FFF2-40B4-BE49-F238E27FC236}">
                        <a16:creationId xmlns:a16="http://schemas.microsoft.com/office/drawing/2014/main" id="{E3C96FA4-47AB-7732-E4A2-8ABA2A2E421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805349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</a:t>
                    </a:r>
                  </a:p>
                </p:txBody>
              </p:sp>
              <p:sp>
                <p:nvSpPr>
                  <p:cNvPr id="503" name="Rectangle 51">
                    <a:extLst>
                      <a:ext uri="{FF2B5EF4-FFF2-40B4-BE49-F238E27FC236}">
                        <a16:creationId xmlns:a16="http://schemas.microsoft.com/office/drawing/2014/main" id="{24F48DCB-1391-CFD5-1EE6-201CB2B60F8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805349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5</a:t>
                    </a:r>
                  </a:p>
                </p:txBody>
              </p:sp>
            </p:grpSp>
            <p:grpSp>
              <p:nvGrpSpPr>
                <p:cNvPr id="489" name="Group 488">
                  <a:extLst>
                    <a:ext uri="{FF2B5EF4-FFF2-40B4-BE49-F238E27FC236}">
                      <a16:creationId xmlns:a16="http://schemas.microsoft.com/office/drawing/2014/main" id="{C9769203-879D-CF18-E7A2-3025E8A6A3C2}"/>
                    </a:ext>
                  </a:extLst>
                </p:cNvPr>
                <p:cNvGrpSpPr/>
                <p:nvPr/>
              </p:nvGrpSpPr>
              <p:grpSpPr>
                <a:xfrm>
                  <a:off x="3247361" y="5623195"/>
                  <a:ext cx="115416" cy="472776"/>
                  <a:chOff x="3313197" y="5623195"/>
                  <a:chExt cx="115416" cy="472776"/>
                </a:xfrm>
              </p:grpSpPr>
              <p:sp>
                <p:nvSpPr>
                  <p:cNvPr id="498" name="Rectangle 51">
                    <a:extLst>
                      <a:ext uri="{FF2B5EF4-FFF2-40B4-BE49-F238E27FC236}">
                        <a16:creationId xmlns:a16="http://schemas.microsoft.com/office/drawing/2014/main" id="{6F4083C8-252C-6C1A-7B62-780404D39C9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13197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46</a:t>
                    </a:r>
                  </a:p>
                </p:txBody>
              </p:sp>
              <p:sp>
                <p:nvSpPr>
                  <p:cNvPr id="499" name="Rectangle 51">
                    <a:extLst>
                      <a:ext uri="{FF2B5EF4-FFF2-40B4-BE49-F238E27FC236}">
                        <a16:creationId xmlns:a16="http://schemas.microsoft.com/office/drawing/2014/main" id="{EFB1B194-6988-1C27-42F7-318DE4B26EF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13197" y="579120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1</a:t>
                    </a:r>
                  </a:p>
                </p:txBody>
              </p:sp>
              <p:sp>
                <p:nvSpPr>
                  <p:cNvPr id="500" name="Rectangle 51">
                    <a:extLst>
                      <a:ext uri="{FF2B5EF4-FFF2-40B4-BE49-F238E27FC236}">
                        <a16:creationId xmlns:a16="http://schemas.microsoft.com/office/drawing/2014/main" id="{D90E7036-D328-FDFC-4EAE-F1BE7EB42C9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313197" y="5972860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0</a:t>
                    </a:r>
                  </a:p>
                </p:txBody>
              </p:sp>
            </p:grpSp>
            <p:grpSp>
              <p:nvGrpSpPr>
                <p:cNvPr id="490" name="Group 489">
                  <a:extLst>
                    <a:ext uri="{FF2B5EF4-FFF2-40B4-BE49-F238E27FC236}">
                      <a16:creationId xmlns:a16="http://schemas.microsoft.com/office/drawing/2014/main" id="{B3C62F76-544D-4E70-19C1-6569D291C313}"/>
                    </a:ext>
                  </a:extLst>
                </p:cNvPr>
                <p:cNvGrpSpPr/>
                <p:nvPr/>
              </p:nvGrpSpPr>
              <p:grpSpPr>
                <a:xfrm>
                  <a:off x="4587871" y="5623195"/>
                  <a:ext cx="115416" cy="472776"/>
                  <a:chOff x="4697599" y="5623195"/>
                  <a:chExt cx="115416" cy="472776"/>
                </a:xfrm>
              </p:grpSpPr>
              <p:sp>
                <p:nvSpPr>
                  <p:cNvPr id="495" name="Rectangle 51">
                    <a:extLst>
                      <a:ext uri="{FF2B5EF4-FFF2-40B4-BE49-F238E27FC236}">
                        <a16:creationId xmlns:a16="http://schemas.microsoft.com/office/drawing/2014/main" id="{F3EF11EE-3F45-1484-89C7-43CC00EC749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697599" y="5623195"/>
                    <a:ext cx="115416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23</a:t>
                    </a:r>
                  </a:p>
                </p:txBody>
              </p:sp>
              <p:sp>
                <p:nvSpPr>
                  <p:cNvPr id="496" name="Rectangle 51">
                    <a:extLst>
                      <a:ext uri="{FF2B5EF4-FFF2-40B4-BE49-F238E27FC236}">
                        <a16:creationId xmlns:a16="http://schemas.microsoft.com/office/drawing/2014/main" id="{9988510B-CB74-D66F-EEB2-1B5CE62533D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726453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5</a:t>
                    </a:r>
                  </a:p>
                </p:txBody>
              </p:sp>
              <p:sp>
                <p:nvSpPr>
                  <p:cNvPr id="497" name="Rectangle 51">
                    <a:extLst>
                      <a:ext uri="{FF2B5EF4-FFF2-40B4-BE49-F238E27FC236}">
                        <a16:creationId xmlns:a16="http://schemas.microsoft.com/office/drawing/2014/main" id="{2EA7E191-C079-BBD3-743D-AC6A94C7759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726453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491" name="Group 490">
                  <a:extLst>
                    <a:ext uri="{FF2B5EF4-FFF2-40B4-BE49-F238E27FC236}">
                      <a16:creationId xmlns:a16="http://schemas.microsoft.com/office/drawing/2014/main" id="{0C5F1119-85FC-0751-9C41-69BD8DDE6D26}"/>
                    </a:ext>
                  </a:extLst>
                </p:cNvPr>
                <p:cNvGrpSpPr/>
                <p:nvPr/>
              </p:nvGrpSpPr>
              <p:grpSpPr>
                <a:xfrm>
                  <a:off x="7400859" y="5623195"/>
                  <a:ext cx="57708" cy="472776"/>
                  <a:chOff x="7347245" y="5623195"/>
                  <a:chExt cx="57708" cy="472776"/>
                </a:xfrm>
              </p:grpSpPr>
              <p:sp>
                <p:nvSpPr>
                  <p:cNvPr id="492" name="Rectangle 55">
                    <a:extLst>
                      <a:ext uri="{FF2B5EF4-FFF2-40B4-BE49-F238E27FC236}">
                        <a16:creationId xmlns:a16="http://schemas.microsoft.com/office/drawing/2014/main" id="{278A0D1D-89FE-7F9F-3833-D59B270CBFF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623195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  <p:sp>
                <p:nvSpPr>
                  <p:cNvPr id="493" name="Rectangle 55">
                    <a:extLst>
                      <a:ext uri="{FF2B5EF4-FFF2-40B4-BE49-F238E27FC236}">
                        <a16:creationId xmlns:a16="http://schemas.microsoft.com/office/drawing/2014/main" id="{1FF8F5B9-1478-7D4E-0C79-C913CDA1949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79120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  <p:sp>
                <p:nvSpPr>
                  <p:cNvPr id="494" name="Rectangle 55">
                    <a:extLst>
                      <a:ext uri="{FF2B5EF4-FFF2-40B4-BE49-F238E27FC236}">
                        <a16:creationId xmlns:a16="http://schemas.microsoft.com/office/drawing/2014/main" id="{DBD0C07E-73A7-BA68-217B-F6A2086CE8F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47245" y="5972860"/>
                    <a:ext cx="57708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</p:grpSp>
        </p:grp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B5AC60F0-0887-42AB-A64C-2884461387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330" y="167094"/>
            <a:ext cx="11108266" cy="763716"/>
          </a:xfrm>
        </p:spPr>
        <p:txBody>
          <a:bodyPr/>
          <a:lstStyle/>
          <a:p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S by Response Category With </a:t>
            </a:r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Ivosidenib</a:t>
            </a:r>
          </a:p>
        </p:txBody>
      </p:sp>
      <p:sp>
        <p:nvSpPr>
          <p:cNvPr id="153" name="Content Placeholder 3">
            <a:extLst>
              <a:ext uri="{FF2B5EF4-FFF2-40B4-BE49-F238E27FC236}">
                <a16:creationId xmlns:a16="http://schemas.microsoft.com/office/drawing/2014/main" id="{A75CA736-4571-43D8-ECC1-3358D1E44173}"/>
              </a:ext>
            </a:extLst>
          </p:cNvPr>
          <p:cNvSpPr txBox="1">
            <a:spLocks/>
          </p:cNvSpPr>
          <p:nvPr/>
        </p:nvSpPr>
        <p:spPr>
          <a:xfrm>
            <a:off x="482600" y="1882104"/>
            <a:ext cx="5582792" cy="39474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4"/>
              </a:buClr>
              <a:buFont typeface="Wingdings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609BC8"/>
              </a:buClr>
              <a:buSzTx/>
              <a:buFont typeface="Wingdings" charset="2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lutasidenib</a:t>
            </a:r>
            <a:r>
              <a:rPr kumimoji="0" lang="en-US" sz="1800" b="1" i="0" u="none" strike="noStrike" kern="1200" cap="none" spc="0" normalizeH="0" baseline="3000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</a:t>
            </a:r>
          </a:p>
        </p:txBody>
      </p:sp>
      <p:sp>
        <p:nvSpPr>
          <p:cNvPr id="349" name="TextBox 348">
            <a:extLst>
              <a:ext uri="{FF2B5EF4-FFF2-40B4-BE49-F238E27FC236}">
                <a16:creationId xmlns:a16="http://schemas.microsoft.com/office/drawing/2014/main" id="{CFA01835-4155-13F7-4E74-A9E74040CCAE}"/>
              </a:ext>
            </a:extLst>
          </p:cNvPr>
          <p:cNvSpPr txBox="1"/>
          <p:nvPr/>
        </p:nvSpPr>
        <p:spPr>
          <a:xfrm>
            <a:off x="3559262" y="2856217"/>
            <a:ext cx="74440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0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R</a:t>
            </a:r>
            <a:b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-5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</a:p>
        </p:txBody>
      </p:sp>
      <p:sp>
        <p:nvSpPr>
          <p:cNvPr id="353" name="TextBox 352">
            <a:extLst>
              <a:ext uri="{FF2B5EF4-FFF2-40B4-BE49-F238E27FC236}">
                <a16:creationId xmlns:a16="http://schemas.microsoft.com/office/drawing/2014/main" id="{656DEC86-CF22-5C9A-5181-F9D38273473B}"/>
              </a:ext>
            </a:extLst>
          </p:cNvPr>
          <p:cNvSpPr txBox="1"/>
          <p:nvPr/>
        </p:nvSpPr>
        <p:spPr>
          <a:xfrm>
            <a:off x="1685260" y="3436834"/>
            <a:ext cx="995404" cy="3847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0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.0 months</a:t>
            </a:r>
            <a:b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9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  <a:endParaRPr kumimoji="0" lang="en-US" sz="10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622" name="Group 621">
            <a:extLst>
              <a:ext uri="{FF2B5EF4-FFF2-40B4-BE49-F238E27FC236}">
                <a16:creationId xmlns:a16="http://schemas.microsoft.com/office/drawing/2014/main" id="{78827DCB-9579-7B5D-C629-E7CFB453AF8C}"/>
              </a:ext>
            </a:extLst>
          </p:cNvPr>
          <p:cNvGrpSpPr/>
          <p:nvPr/>
        </p:nvGrpSpPr>
        <p:grpSpPr>
          <a:xfrm>
            <a:off x="1256404" y="3115340"/>
            <a:ext cx="4559905" cy="1850372"/>
            <a:chOff x="1256404" y="3115340"/>
            <a:chExt cx="4559905" cy="1850372"/>
          </a:xfrm>
        </p:grpSpPr>
        <p:cxnSp>
          <p:nvCxnSpPr>
            <p:cNvPr id="348" name="Straight Connector 347">
              <a:extLst>
                <a:ext uri="{FF2B5EF4-FFF2-40B4-BE49-F238E27FC236}">
                  <a16:creationId xmlns:a16="http://schemas.microsoft.com/office/drawing/2014/main" id="{93FA7E86-D997-1BAA-2D2D-C7A770A2A8CD}"/>
                </a:ext>
              </a:extLst>
            </p:cNvPr>
            <p:cNvCxnSpPr>
              <a:cxnSpLocks/>
            </p:cNvCxnSpPr>
            <p:nvPr/>
          </p:nvCxnSpPr>
          <p:spPr>
            <a:xfrm>
              <a:off x="1256404" y="3774293"/>
              <a:ext cx="4559905" cy="0"/>
            </a:xfrm>
            <a:prstGeom prst="line">
              <a:avLst/>
            </a:prstGeom>
            <a:ln w="9525" cap="rnd">
              <a:solidFill>
                <a:schemeClr val="accent5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6" name="Straight Connector 355">
              <a:extLst>
                <a:ext uri="{FF2B5EF4-FFF2-40B4-BE49-F238E27FC236}">
                  <a16:creationId xmlns:a16="http://schemas.microsoft.com/office/drawing/2014/main" id="{FA027B9D-5CC0-63C7-1B44-A42FADEDEC2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346067" y="3115340"/>
              <a:ext cx="0" cy="1850372"/>
            </a:xfrm>
            <a:prstGeom prst="line">
              <a:avLst/>
            </a:prstGeom>
            <a:ln w="9525" cap="rnd">
              <a:solidFill>
                <a:schemeClr val="accent5"/>
              </a:solidFill>
              <a:prstDash val="sys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8" name="TextBox 357">
            <a:extLst>
              <a:ext uri="{FF2B5EF4-FFF2-40B4-BE49-F238E27FC236}">
                <a16:creationId xmlns:a16="http://schemas.microsoft.com/office/drawing/2014/main" id="{E6500210-D2C7-F04D-D4C0-C7E6DFA1FE40}"/>
              </a:ext>
            </a:extLst>
          </p:cNvPr>
          <p:cNvSpPr txBox="1"/>
          <p:nvPr/>
        </p:nvSpPr>
        <p:spPr>
          <a:xfrm>
            <a:off x="3174786" y="2842208"/>
            <a:ext cx="74440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0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206367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8%</a:t>
            </a:r>
            <a:endParaRPr kumimoji="0" lang="en-US" sz="1000" b="0" i="0" u="none" strike="noStrike" kern="1200" cap="none" spc="-50" normalizeH="0" baseline="0" noProof="0" dirty="0">
              <a:ln>
                <a:noFill/>
              </a:ln>
              <a:solidFill>
                <a:srgbClr val="206367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2" name="TextBox 351">
            <a:extLst>
              <a:ext uri="{FF2B5EF4-FFF2-40B4-BE49-F238E27FC236}">
                <a16:creationId xmlns:a16="http://schemas.microsoft.com/office/drawing/2014/main" id="{AE2FDD60-B026-C3EA-811D-651A5E937C18}"/>
              </a:ext>
            </a:extLst>
          </p:cNvPr>
          <p:cNvSpPr txBox="1"/>
          <p:nvPr/>
        </p:nvSpPr>
        <p:spPr>
          <a:xfrm>
            <a:off x="2528147" y="3413208"/>
            <a:ext cx="114315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0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4D8D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3.7 months</a:t>
            </a:r>
            <a:b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4D8D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-50" normalizeH="0" baseline="0" noProof="0" dirty="0">
                <a:ln>
                  <a:noFill/>
                </a:ln>
                <a:solidFill>
                  <a:srgbClr val="4D8D75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</a:p>
        </p:txBody>
      </p:sp>
      <p:sp>
        <p:nvSpPr>
          <p:cNvPr id="1187" name="Rectangle 1186">
            <a:extLst>
              <a:ext uri="{FF2B5EF4-FFF2-40B4-BE49-F238E27FC236}">
                <a16:creationId xmlns:a16="http://schemas.microsoft.com/office/drawing/2014/main" id="{7044ACEB-F26C-04AC-09F9-C9FCB8875B5F}"/>
              </a:ext>
            </a:extLst>
          </p:cNvPr>
          <p:cNvSpPr/>
          <p:nvPr/>
        </p:nvSpPr>
        <p:spPr>
          <a:xfrm>
            <a:off x="297501" y="1075784"/>
            <a:ext cx="11239499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NOTE: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s a summary of data from independent trials, not a head-to-head comparison within a single study.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CFB4391-1B39-E41D-D658-6FE14367A200}"/>
              </a:ext>
            </a:extLst>
          </p:cNvPr>
          <p:cNvGrpSpPr/>
          <p:nvPr/>
        </p:nvGrpSpPr>
        <p:grpSpPr>
          <a:xfrm>
            <a:off x="6523579" y="1819662"/>
            <a:ext cx="5638800" cy="4404157"/>
            <a:chOff x="6553200" y="1875513"/>
            <a:chExt cx="5638800" cy="4024219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54B6928-1212-3A5B-8C53-0C731245549F}"/>
                </a:ext>
              </a:extLst>
            </p:cNvPr>
            <p:cNvGrpSpPr/>
            <p:nvPr/>
          </p:nvGrpSpPr>
          <p:grpSpPr>
            <a:xfrm>
              <a:off x="6553200" y="1875513"/>
              <a:ext cx="5638800" cy="4024219"/>
              <a:chOff x="6553200" y="1875513"/>
              <a:chExt cx="5638800" cy="4024219"/>
            </a:xfrm>
          </p:grpSpPr>
          <p:graphicFrame>
            <p:nvGraphicFramePr>
              <p:cNvPr id="628" name="Chart 627">
                <a:extLst>
                  <a:ext uri="{FF2B5EF4-FFF2-40B4-BE49-F238E27FC236}">
                    <a16:creationId xmlns:a16="http://schemas.microsoft.com/office/drawing/2014/main" id="{5FEC81D1-C899-9024-C248-37B157EBB9ED}"/>
                  </a:ext>
                </a:extLst>
              </p:cNvPr>
              <p:cNvGraphicFramePr/>
              <p:nvPr/>
            </p:nvGraphicFramePr>
            <p:xfrm>
              <a:off x="6778439" y="2075860"/>
              <a:ext cx="5051612" cy="3287112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154" name="Content Placeholder 3">
                <a:extLst>
                  <a:ext uri="{FF2B5EF4-FFF2-40B4-BE49-F238E27FC236}">
                    <a16:creationId xmlns:a16="http://schemas.microsoft.com/office/drawing/2014/main" id="{AAACA1A2-8F01-DE77-2A1D-EBE3D6BBBC93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834908" y="1875513"/>
                <a:ext cx="4889825" cy="394743"/>
              </a:xfrm>
              <a:prstGeom prst="rect">
                <a:avLst/>
              </a:prstGeom>
            </p:spPr>
            <p:txBody>
              <a:bodyPr>
                <a:normAutofit/>
              </a:bodyPr>
              <a:lstStyle>
                <a:lvl1pPr marL="228600" indent="-228600" algn="l" defTabSz="914400" rtl="0" eaLnBrk="1" latinLnBrk="0" hangingPunct="1">
                  <a:lnSpc>
                    <a:spcPct val="100000"/>
                  </a:lnSpc>
                  <a:spcBef>
                    <a:spcPts val="800"/>
                  </a:spcBef>
                  <a:buClr>
                    <a:schemeClr val="accent4"/>
                  </a:buClr>
                  <a:buFont typeface="Wingdings" charset="2"/>
                  <a:buChar char="§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85800" indent="-228600" algn="l" defTabSz="914400" rtl="0" eaLnBrk="1" latinLnBrk="0" hangingPunct="1">
                  <a:lnSpc>
                    <a:spcPct val="10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10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10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100000"/>
                  </a:lnSpc>
                  <a:spcBef>
                    <a:spcPts val="800"/>
                  </a:spcBef>
                  <a:buClr>
                    <a:schemeClr val="accent1"/>
                  </a:buClr>
                  <a:buFont typeface="Arial" panose="020B0604020202020204" pitchFamily="34" charset="0"/>
                  <a:buChar char="•"/>
                  <a:defRPr sz="2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800"/>
                  </a:spcBef>
                  <a:spcAft>
                    <a:spcPts val="0"/>
                  </a:spcAft>
                  <a:buClr>
                    <a:srgbClr val="609BC8"/>
                  </a:buClr>
                  <a:buSzTx/>
                  <a:buFont typeface="Wingdings" charset="2"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0636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Ivosidenib</a:t>
                </a:r>
                <a:r>
                  <a:rPr kumimoji="0" lang="en-US" sz="1800" b="1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206367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2</a:t>
                </a:r>
              </a:p>
            </p:txBody>
          </p:sp>
          <p:grpSp>
            <p:nvGrpSpPr>
              <p:cNvPr id="1184" name="Group 1183">
                <a:extLst>
                  <a:ext uri="{FF2B5EF4-FFF2-40B4-BE49-F238E27FC236}">
                    <a16:creationId xmlns:a16="http://schemas.microsoft.com/office/drawing/2014/main" id="{F23AFF67-B72B-E887-7B0E-4CEB3C5C98FD}"/>
                  </a:ext>
                </a:extLst>
              </p:cNvPr>
              <p:cNvGrpSpPr/>
              <p:nvPr/>
            </p:nvGrpSpPr>
            <p:grpSpPr>
              <a:xfrm>
                <a:off x="6553200" y="2557463"/>
                <a:ext cx="5638800" cy="3342269"/>
                <a:chOff x="6553200" y="2557463"/>
                <a:chExt cx="5638800" cy="3342269"/>
              </a:xfrm>
            </p:grpSpPr>
            <p:grpSp>
              <p:nvGrpSpPr>
                <p:cNvPr id="629" name="Group 628">
                  <a:extLst>
                    <a:ext uri="{FF2B5EF4-FFF2-40B4-BE49-F238E27FC236}">
                      <a16:creationId xmlns:a16="http://schemas.microsoft.com/office/drawing/2014/main" id="{A959395F-4C3F-F70A-C364-C13F509692BF}"/>
                    </a:ext>
                  </a:extLst>
                </p:cNvPr>
                <p:cNvGrpSpPr/>
                <p:nvPr/>
              </p:nvGrpSpPr>
              <p:grpSpPr>
                <a:xfrm>
                  <a:off x="10420414" y="2607709"/>
                  <a:ext cx="1146207" cy="398528"/>
                  <a:chOff x="5978609" y="1753876"/>
                  <a:chExt cx="1531022" cy="521945"/>
                </a:xfrm>
              </p:grpSpPr>
              <p:grpSp>
                <p:nvGrpSpPr>
                  <p:cNvPr id="696" name="Group 695">
                    <a:extLst>
                      <a:ext uri="{FF2B5EF4-FFF2-40B4-BE49-F238E27FC236}">
                        <a16:creationId xmlns:a16="http://schemas.microsoft.com/office/drawing/2014/main" id="{16023C25-B0B3-8BD2-38D4-CA84B39A5941}"/>
                      </a:ext>
                    </a:extLst>
                  </p:cNvPr>
                  <p:cNvGrpSpPr/>
                  <p:nvPr/>
                </p:nvGrpSpPr>
                <p:grpSpPr>
                  <a:xfrm>
                    <a:off x="5978609" y="1753876"/>
                    <a:ext cx="1531022" cy="161236"/>
                    <a:chOff x="5978609" y="1753876"/>
                    <a:chExt cx="1531022" cy="161236"/>
                  </a:xfrm>
                </p:grpSpPr>
                <p:sp>
                  <p:nvSpPr>
                    <p:cNvPr id="703" name="Rectangle 44">
                      <a:extLst>
                        <a:ext uri="{FF2B5EF4-FFF2-40B4-BE49-F238E27FC236}">
                          <a16:creationId xmlns:a16="http://schemas.microsoft.com/office/drawing/2014/main" id="{96B841EA-A928-6536-E4BC-EC89E0D0EC8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72029" y="1753876"/>
                      <a:ext cx="1237602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/</a:t>
                      </a:r>
                      <a:r>
                        <a:rPr kumimoji="0" lang="en-US" altLang="en-US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h</a:t>
                      </a: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responders</a:t>
                      </a:r>
                    </a:p>
                  </p:txBody>
                </p:sp>
                <p:sp>
                  <p:nvSpPr>
                    <p:cNvPr id="704" name="Line 68">
                      <a:extLst>
                        <a:ext uri="{FF2B5EF4-FFF2-40B4-BE49-F238E27FC236}">
                          <a16:creationId xmlns:a16="http://schemas.microsoft.com/office/drawing/2014/main" id="{A3FD10C6-13B1-3B0F-EA52-9ED64BF20210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5978609" y="1828069"/>
                      <a:ext cx="247438" cy="0"/>
                    </a:xfrm>
                    <a:prstGeom prst="line">
                      <a:avLst/>
                    </a:prstGeom>
                    <a:noFill/>
                    <a:ln w="38100" cap="flat">
                      <a:solidFill>
                        <a:srgbClr val="005E62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45714" tIns="22857" rIns="45714" bIns="22857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0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697" name="Group 696">
                    <a:extLst>
                      <a:ext uri="{FF2B5EF4-FFF2-40B4-BE49-F238E27FC236}">
                        <a16:creationId xmlns:a16="http://schemas.microsoft.com/office/drawing/2014/main" id="{D7DAD09F-8D0E-9C45-06B1-6A417109AA7D}"/>
                      </a:ext>
                    </a:extLst>
                  </p:cNvPr>
                  <p:cNvGrpSpPr/>
                  <p:nvPr/>
                </p:nvGrpSpPr>
                <p:grpSpPr>
                  <a:xfrm>
                    <a:off x="5978609" y="1958157"/>
                    <a:ext cx="1404690" cy="161236"/>
                    <a:chOff x="5978609" y="1753876"/>
                    <a:chExt cx="1404690" cy="161236"/>
                  </a:xfrm>
                </p:grpSpPr>
                <p:sp>
                  <p:nvSpPr>
                    <p:cNvPr id="701" name="Rectangle 44">
                      <a:extLst>
                        <a:ext uri="{FF2B5EF4-FFF2-40B4-BE49-F238E27FC236}">
                          <a16:creationId xmlns:a16="http://schemas.microsoft.com/office/drawing/2014/main" id="{4F008E64-D559-D6A5-7B3E-E2F9F656245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72027" y="1753876"/>
                      <a:ext cx="1111272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ther responders </a:t>
                      </a:r>
                    </a:p>
                  </p:txBody>
                </p:sp>
                <p:sp>
                  <p:nvSpPr>
                    <p:cNvPr id="702" name="Line 68">
                      <a:extLst>
                        <a:ext uri="{FF2B5EF4-FFF2-40B4-BE49-F238E27FC236}">
                          <a16:creationId xmlns:a16="http://schemas.microsoft.com/office/drawing/2014/main" id="{19906933-E3A3-9D29-72D5-CD1045F9DFA3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5978609" y="1840249"/>
                      <a:ext cx="247438" cy="0"/>
                    </a:xfrm>
                    <a:prstGeom prst="line">
                      <a:avLst/>
                    </a:prstGeom>
                    <a:noFill/>
                    <a:ln w="38100" cap="flat">
                      <a:solidFill>
                        <a:srgbClr val="4D8D75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45714" tIns="22857" rIns="45714" bIns="22857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0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698" name="Group 697">
                    <a:extLst>
                      <a:ext uri="{FF2B5EF4-FFF2-40B4-BE49-F238E27FC236}">
                        <a16:creationId xmlns:a16="http://schemas.microsoft.com/office/drawing/2014/main" id="{FE04788C-8D8D-7E17-15A9-7A466E1A4631}"/>
                      </a:ext>
                    </a:extLst>
                  </p:cNvPr>
                  <p:cNvGrpSpPr/>
                  <p:nvPr/>
                </p:nvGrpSpPr>
                <p:grpSpPr>
                  <a:xfrm>
                    <a:off x="5978609" y="2152710"/>
                    <a:ext cx="1012769" cy="123111"/>
                    <a:chOff x="5978609" y="1753876"/>
                    <a:chExt cx="1012769" cy="123111"/>
                  </a:xfrm>
                </p:grpSpPr>
                <p:sp>
                  <p:nvSpPr>
                    <p:cNvPr id="699" name="Rectangle 44">
                      <a:extLst>
                        <a:ext uri="{FF2B5EF4-FFF2-40B4-BE49-F238E27FC236}">
                          <a16:creationId xmlns:a16="http://schemas.microsoft.com/office/drawing/2014/main" id="{83CC18F9-3534-9EF0-6C00-CC112A48F08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272029" y="1753876"/>
                      <a:ext cx="719349" cy="123111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nresponders</a:t>
                      </a:r>
                      <a:endPara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700" name="Line 68">
                      <a:extLst>
                        <a:ext uri="{FF2B5EF4-FFF2-40B4-BE49-F238E27FC236}">
                          <a16:creationId xmlns:a16="http://schemas.microsoft.com/office/drawing/2014/main" id="{1D367CEA-E03C-A55D-94B0-EB854A43F037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5978609" y="1845635"/>
                      <a:ext cx="247438" cy="0"/>
                    </a:xfrm>
                    <a:prstGeom prst="line">
                      <a:avLst/>
                    </a:prstGeom>
                    <a:noFill/>
                    <a:ln w="38100" cap="flat">
                      <a:solidFill>
                        <a:srgbClr val="7F7F7F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45714" tIns="22857" rIns="45714" bIns="22857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0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630" name="TextBox 629">
                  <a:extLst>
                    <a:ext uri="{FF2B5EF4-FFF2-40B4-BE49-F238E27FC236}">
                      <a16:creationId xmlns:a16="http://schemas.microsoft.com/office/drawing/2014/main" id="{5B03711B-DD3A-507F-B232-7D4901222598}"/>
                    </a:ext>
                  </a:extLst>
                </p:cNvPr>
                <p:cNvSpPr txBox="1"/>
                <p:nvPr/>
              </p:nvSpPr>
              <p:spPr bwMode="auto">
                <a:xfrm rot="16200000">
                  <a:off x="6013469" y="3689162"/>
                  <a:ext cx="1317990" cy="23852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9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rPr>
                    <a:t>Survival Probability</a:t>
                  </a:r>
                </a:p>
              </p:txBody>
            </p:sp>
            <p:sp>
              <p:nvSpPr>
                <p:cNvPr id="631" name="TextBox 630">
                  <a:extLst>
                    <a:ext uri="{FF2B5EF4-FFF2-40B4-BE49-F238E27FC236}">
                      <a16:creationId xmlns:a16="http://schemas.microsoft.com/office/drawing/2014/main" id="{EC8EC585-D10F-7271-C1EB-5AEB0EAB18C8}"/>
                    </a:ext>
                  </a:extLst>
                </p:cNvPr>
                <p:cNvSpPr txBox="1"/>
                <p:nvPr/>
              </p:nvSpPr>
              <p:spPr bwMode="auto">
                <a:xfrm>
                  <a:off x="9092290" y="5237423"/>
                  <a:ext cx="680768" cy="16450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 algn="ctr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+mn-cs"/>
                    </a:rPr>
                    <a:t>Time (months)</a:t>
                  </a:r>
                </a:p>
              </p:txBody>
            </p:sp>
            <p:grpSp>
              <p:nvGrpSpPr>
                <p:cNvPr id="632" name="Group 631">
                  <a:extLst>
                    <a:ext uri="{FF2B5EF4-FFF2-40B4-BE49-F238E27FC236}">
                      <a16:creationId xmlns:a16="http://schemas.microsoft.com/office/drawing/2014/main" id="{551B3578-45E9-C64F-4EEC-ADBF7D472335}"/>
                    </a:ext>
                  </a:extLst>
                </p:cNvPr>
                <p:cNvGrpSpPr/>
                <p:nvPr/>
              </p:nvGrpSpPr>
              <p:grpSpPr>
                <a:xfrm>
                  <a:off x="11181406" y="4697687"/>
                  <a:ext cx="433162" cy="94001"/>
                  <a:chOff x="6682831" y="2849551"/>
                  <a:chExt cx="589634" cy="114619"/>
                </a:xfrm>
              </p:grpSpPr>
              <p:sp>
                <p:nvSpPr>
                  <p:cNvPr id="692" name="Rectangle 42">
                    <a:extLst>
                      <a:ext uri="{FF2B5EF4-FFF2-40B4-BE49-F238E27FC236}">
                        <a16:creationId xmlns:a16="http://schemas.microsoft.com/office/drawing/2014/main" id="{02D30A0F-0EA8-512E-68BE-BD1E364F41E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6807623" y="2849551"/>
                    <a:ext cx="464842" cy="114619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l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Censored</a:t>
                    </a:r>
                  </a:p>
                </p:txBody>
              </p:sp>
              <p:grpSp>
                <p:nvGrpSpPr>
                  <p:cNvPr id="693" name="Group 692">
                    <a:extLst>
                      <a:ext uri="{FF2B5EF4-FFF2-40B4-BE49-F238E27FC236}">
                        <a16:creationId xmlns:a16="http://schemas.microsoft.com/office/drawing/2014/main" id="{598AC95D-E200-A8B3-98CE-95381349AD2B}"/>
                      </a:ext>
                    </a:extLst>
                  </p:cNvPr>
                  <p:cNvGrpSpPr/>
                  <p:nvPr/>
                </p:nvGrpSpPr>
                <p:grpSpPr>
                  <a:xfrm>
                    <a:off x="6682831" y="2876508"/>
                    <a:ext cx="81117" cy="85926"/>
                    <a:chOff x="14281151" y="3830638"/>
                    <a:chExt cx="95250" cy="95250"/>
                  </a:xfrm>
                </p:grpSpPr>
                <p:sp>
                  <p:nvSpPr>
                    <p:cNvPr id="694" name="Line 64">
                      <a:extLst>
                        <a:ext uri="{FF2B5EF4-FFF2-40B4-BE49-F238E27FC236}">
                          <a16:creationId xmlns:a16="http://schemas.microsoft.com/office/drawing/2014/main" id="{9057C542-E4C4-8BAB-BFC1-C6A837C797A8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>
                      <a:off x="14328776" y="3830638"/>
                      <a:ext cx="0" cy="95250"/>
                    </a:xfrm>
                    <a:prstGeom prst="line">
                      <a:avLst/>
                    </a:prstGeom>
                    <a:noFill/>
                    <a:ln w="22225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45714" tIns="22857" rIns="45714" bIns="22857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0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95" name="Line 65">
                      <a:extLst>
                        <a:ext uri="{FF2B5EF4-FFF2-40B4-BE49-F238E27FC236}">
                          <a16:creationId xmlns:a16="http://schemas.microsoft.com/office/drawing/2014/main" id="{A2B4B5C8-12A5-963D-3BF4-1AAF08D8215A}"/>
                        </a:ext>
                      </a:extLst>
                    </p:cNvPr>
                    <p:cNvSpPr>
                      <a:spLocks noChangeShapeType="1"/>
                    </p:cNvSpPr>
                    <p:nvPr/>
                  </p:nvSpPr>
                  <p:spPr bwMode="auto">
                    <a:xfrm flipH="1">
                      <a:off x="14281151" y="3878263"/>
                      <a:ext cx="95250" cy="0"/>
                    </a:xfrm>
                    <a:prstGeom prst="line">
                      <a:avLst/>
                    </a:prstGeom>
                    <a:noFill/>
                    <a:ln w="22225" cap="flat">
                      <a:solidFill>
                        <a:schemeClr val="tx1"/>
                      </a:solidFill>
                      <a:prstDash val="solid"/>
                      <a:miter lim="800000"/>
                      <a:headEnd/>
                      <a:tailEnd/>
                    </a:ln>
                    <a:extLst>
                      <a:ext uri="{909E8E84-426E-40DD-AFC4-6F175D3DCCD1}">
                        <a14:hiddenFill xmlns:a14="http://schemas.microsoft.com/office/drawing/2010/main">
                          <a:noFill/>
                        </a14:hiddenFill>
                      </a:ext>
                    </a:extLst>
                  </p:spPr>
                  <p:txBody>
                    <a:bodyPr vert="horz" wrap="square" lIns="45714" tIns="22857" rIns="45714" bIns="22857" numCol="1" anchor="t" anchorCtr="0" compatLnSpc="1">
                      <a:prstTxWarp prst="textNoShape">
                        <a:avLst/>
                      </a:prstTxWarp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08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grpSp>
              <p:nvGrpSpPr>
                <p:cNvPr id="633" name="Group 632">
                  <a:extLst>
                    <a:ext uri="{FF2B5EF4-FFF2-40B4-BE49-F238E27FC236}">
                      <a16:creationId xmlns:a16="http://schemas.microsoft.com/office/drawing/2014/main" id="{6DE10488-7465-73F5-8C3E-DE6686742066}"/>
                    </a:ext>
                  </a:extLst>
                </p:cNvPr>
                <p:cNvGrpSpPr/>
                <p:nvPr/>
              </p:nvGrpSpPr>
              <p:grpSpPr>
                <a:xfrm>
                  <a:off x="6660874" y="5509636"/>
                  <a:ext cx="5065324" cy="390096"/>
                  <a:chOff x="773859" y="5623195"/>
                  <a:chExt cx="6633963" cy="510902"/>
                </a:xfrm>
              </p:grpSpPr>
              <p:sp>
                <p:nvSpPr>
                  <p:cNvPr id="634" name="Rectangle 48">
                    <a:extLst>
                      <a:ext uri="{FF2B5EF4-FFF2-40B4-BE49-F238E27FC236}">
                        <a16:creationId xmlns:a16="http://schemas.microsoft.com/office/drawing/2014/main" id="{0704F6B5-1F0D-9670-7A39-B144415B312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61790" y="5623195"/>
                    <a:ext cx="151158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38</a:t>
                    </a:r>
                  </a:p>
                </p:txBody>
              </p:sp>
              <p:sp>
                <p:nvSpPr>
                  <p:cNvPr id="635" name="Line 65">
                    <a:extLst>
                      <a:ext uri="{FF2B5EF4-FFF2-40B4-BE49-F238E27FC236}">
                        <a16:creationId xmlns:a16="http://schemas.microsoft.com/office/drawing/2014/main" id="{DAC0B8E2-ECA4-FB70-9C67-EBB235528A30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773859" y="5697734"/>
                    <a:ext cx="261081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005E62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36" name="Rectangle 48">
                    <a:extLst>
                      <a:ext uri="{FF2B5EF4-FFF2-40B4-BE49-F238E27FC236}">
                        <a16:creationId xmlns:a16="http://schemas.microsoft.com/office/drawing/2014/main" id="{C2AB01A3-2755-E8E0-9CA1-5F7ECDB2BEC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61790" y="5791200"/>
                    <a:ext cx="151158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4</a:t>
                    </a:r>
                  </a:p>
                </p:txBody>
              </p:sp>
              <p:sp>
                <p:nvSpPr>
                  <p:cNvPr id="637" name="Line 65">
                    <a:extLst>
                      <a:ext uri="{FF2B5EF4-FFF2-40B4-BE49-F238E27FC236}">
                        <a16:creationId xmlns:a16="http://schemas.microsoft.com/office/drawing/2014/main" id="{DC48DF3E-C110-63AE-F4CB-61FF5A06948E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773859" y="5865739"/>
                    <a:ext cx="261081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chemeClr val="bg2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638" name="Rectangle 48">
                    <a:extLst>
                      <a:ext uri="{FF2B5EF4-FFF2-40B4-BE49-F238E27FC236}">
                        <a16:creationId xmlns:a16="http://schemas.microsoft.com/office/drawing/2014/main" id="{A5D164B5-FE9F-578E-7D0A-C414970F26B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61790" y="5972858"/>
                    <a:ext cx="151158" cy="16123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73</a:t>
                    </a:r>
                  </a:p>
                </p:txBody>
              </p:sp>
              <p:grpSp>
                <p:nvGrpSpPr>
                  <p:cNvPr id="639" name="Group 638">
                    <a:extLst>
                      <a:ext uri="{FF2B5EF4-FFF2-40B4-BE49-F238E27FC236}">
                        <a16:creationId xmlns:a16="http://schemas.microsoft.com/office/drawing/2014/main" id="{8A590703-61A5-B62F-1A1B-B9DFDCC432A2}"/>
                      </a:ext>
                    </a:extLst>
                  </p:cNvPr>
                  <p:cNvGrpSpPr/>
                  <p:nvPr/>
                </p:nvGrpSpPr>
                <p:grpSpPr>
                  <a:xfrm>
                    <a:off x="2121280" y="5623195"/>
                    <a:ext cx="151159" cy="510900"/>
                    <a:chOff x="2187117" y="5623195"/>
                    <a:chExt cx="151159" cy="510900"/>
                  </a:xfrm>
                </p:grpSpPr>
                <p:sp>
                  <p:nvSpPr>
                    <p:cNvPr id="689" name="Rectangle 50">
                      <a:extLst>
                        <a:ext uri="{FF2B5EF4-FFF2-40B4-BE49-F238E27FC236}">
                          <a16:creationId xmlns:a16="http://schemas.microsoft.com/office/drawing/2014/main" id="{08BBEE3F-9996-90D8-78C3-46F9F06A8C0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87117" y="5623195"/>
                      <a:ext cx="15115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p:txBody>
                </p:sp>
                <p:sp>
                  <p:nvSpPr>
                    <p:cNvPr id="690" name="Rectangle 50">
                      <a:extLst>
                        <a:ext uri="{FF2B5EF4-FFF2-40B4-BE49-F238E27FC236}">
                          <a16:creationId xmlns:a16="http://schemas.microsoft.com/office/drawing/2014/main" id="{A15D7FFE-1BE2-4141-CF94-619445015FB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87117" y="5791200"/>
                      <a:ext cx="151158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p:txBody>
                </p:sp>
                <p:sp>
                  <p:nvSpPr>
                    <p:cNvPr id="691" name="Rectangle 50">
                      <a:extLst>
                        <a:ext uri="{FF2B5EF4-FFF2-40B4-BE49-F238E27FC236}">
                          <a16:creationId xmlns:a16="http://schemas.microsoft.com/office/drawing/2014/main" id="{6A863DF7-47AE-569F-16C9-486DB822330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187117" y="5972858"/>
                      <a:ext cx="151158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</a:p>
                  </p:txBody>
                </p:sp>
              </p:grpSp>
              <p:sp>
                <p:nvSpPr>
                  <p:cNvPr id="686" name="Rectangle 52">
                    <a:extLst>
                      <a:ext uri="{FF2B5EF4-FFF2-40B4-BE49-F238E27FC236}">
                        <a16:creationId xmlns:a16="http://schemas.microsoft.com/office/drawing/2014/main" id="{D8363A98-67BF-54F8-B671-99E2B2731D6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523404" y="5623195"/>
                    <a:ext cx="75579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3</a:t>
                    </a:r>
                  </a:p>
                </p:txBody>
              </p:sp>
              <p:sp>
                <p:nvSpPr>
                  <p:cNvPr id="683" name="Rectangle 53">
                    <a:extLst>
                      <a:ext uri="{FF2B5EF4-FFF2-40B4-BE49-F238E27FC236}">
                        <a16:creationId xmlns:a16="http://schemas.microsoft.com/office/drawing/2014/main" id="{BD6F7FDE-A987-D6B5-BECF-D134A3EBE67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861199" y="5623195"/>
                    <a:ext cx="75579" cy="161236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</a:t>
                    </a:r>
                  </a:p>
                </p:txBody>
              </p:sp>
              <p:sp>
                <p:nvSpPr>
                  <p:cNvPr id="680" name="Rectangle 55">
                    <a:extLst>
                      <a:ext uri="{FF2B5EF4-FFF2-40B4-BE49-F238E27FC236}">
                        <a16:creationId xmlns:a16="http://schemas.microsoft.com/office/drawing/2014/main" id="{240E06D0-231E-AD59-CBE1-99C228D0EF2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008638" y="5623195"/>
                    <a:ext cx="57709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1</a:t>
                    </a:r>
                  </a:p>
                </p:txBody>
              </p:sp>
              <p:grpSp>
                <p:nvGrpSpPr>
                  <p:cNvPr id="643" name="Group 642">
                    <a:extLst>
                      <a:ext uri="{FF2B5EF4-FFF2-40B4-BE49-F238E27FC236}">
                        <a16:creationId xmlns:a16="http://schemas.microsoft.com/office/drawing/2014/main" id="{0A5A50C4-E3F8-5932-2432-F30292873C9F}"/>
                      </a:ext>
                    </a:extLst>
                  </p:cNvPr>
                  <p:cNvGrpSpPr/>
                  <p:nvPr/>
                </p:nvGrpSpPr>
                <p:grpSpPr>
                  <a:xfrm>
                    <a:off x="6232881" y="5623195"/>
                    <a:ext cx="453050" cy="161236"/>
                    <a:chOff x="6371869" y="5623195"/>
                    <a:chExt cx="453050" cy="161236"/>
                  </a:xfrm>
                </p:grpSpPr>
                <p:sp>
                  <p:nvSpPr>
                    <p:cNvPr id="677" name="Rectangle 62">
                      <a:extLst>
                        <a:ext uri="{FF2B5EF4-FFF2-40B4-BE49-F238E27FC236}">
                          <a16:creationId xmlns:a16="http://schemas.microsoft.com/office/drawing/2014/main" id="{E2A68EEC-BB20-318A-AAFB-55454A09EB6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749340" y="5623195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p:txBody>
                </p:sp>
                <p:sp>
                  <p:nvSpPr>
                    <p:cNvPr id="789" name="Rectangle 62">
                      <a:extLst>
                        <a:ext uri="{FF2B5EF4-FFF2-40B4-BE49-F238E27FC236}">
                          <a16:creationId xmlns:a16="http://schemas.microsoft.com/office/drawing/2014/main" id="{9DB89CDA-D8B6-9586-E5CC-A9326401E95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6371869" y="5623195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p:txBody>
                </p:sp>
              </p:grpSp>
              <p:sp>
                <p:nvSpPr>
                  <p:cNvPr id="644" name="Line 65">
                    <a:extLst>
                      <a:ext uri="{FF2B5EF4-FFF2-40B4-BE49-F238E27FC236}">
                        <a16:creationId xmlns:a16="http://schemas.microsoft.com/office/drawing/2014/main" id="{9E60E755-9CAE-69E1-63B6-26F97D33BC53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773859" y="6047399"/>
                    <a:ext cx="261081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45714" tIns="22857" rIns="45714" bIns="22857" numCol="1" anchor="t" anchorCtr="0" compatLnSpc="1">
                    <a:prstTxWarp prst="textNoShape">
                      <a:avLst/>
                    </a:prstTxWarp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081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645" name="Group 644">
                    <a:extLst>
                      <a:ext uri="{FF2B5EF4-FFF2-40B4-BE49-F238E27FC236}">
                        <a16:creationId xmlns:a16="http://schemas.microsoft.com/office/drawing/2014/main" id="{194A99A7-7A76-D1A3-695F-D7158B5C42BF}"/>
                      </a:ext>
                    </a:extLst>
                  </p:cNvPr>
                  <p:cNvGrpSpPr/>
                  <p:nvPr/>
                </p:nvGrpSpPr>
                <p:grpSpPr>
                  <a:xfrm>
                    <a:off x="1760239" y="5623195"/>
                    <a:ext cx="151159" cy="510900"/>
                    <a:chOff x="1811446" y="5623195"/>
                    <a:chExt cx="151159" cy="510900"/>
                  </a:xfrm>
                </p:grpSpPr>
                <p:sp>
                  <p:nvSpPr>
                    <p:cNvPr id="674" name="Rectangle 48">
                      <a:extLst>
                        <a:ext uri="{FF2B5EF4-FFF2-40B4-BE49-F238E27FC236}">
                          <a16:creationId xmlns:a16="http://schemas.microsoft.com/office/drawing/2014/main" id="{09F7718B-93D4-2442-81E6-A79D4282790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11446" y="5623195"/>
                      <a:ext cx="15115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p:txBody>
                </p:sp>
                <p:sp>
                  <p:nvSpPr>
                    <p:cNvPr id="675" name="Rectangle 48">
                      <a:extLst>
                        <a:ext uri="{FF2B5EF4-FFF2-40B4-BE49-F238E27FC236}">
                          <a16:creationId xmlns:a16="http://schemas.microsoft.com/office/drawing/2014/main" id="{D7497C93-CD45-EC1E-AFD0-A1C1EBF35D3B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11447" y="5791200"/>
                      <a:ext cx="151157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</p:txBody>
                </p:sp>
                <p:sp>
                  <p:nvSpPr>
                    <p:cNvPr id="676" name="Rectangle 48">
                      <a:extLst>
                        <a:ext uri="{FF2B5EF4-FFF2-40B4-BE49-F238E27FC236}">
                          <a16:creationId xmlns:a16="http://schemas.microsoft.com/office/drawing/2014/main" id="{F1B704B4-2B05-52FB-42E6-DFC1D1EDABE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1811447" y="5972858"/>
                      <a:ext cx="151157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1</a:t>
                      </a:r>
                    </a:p>
                  </p:txBody>
                </p:sp>
              </p:grpSp>
              <p:grpSp>
                <p:nvGrpSpPr>
                  <p:cNvPr id="646" name="Group 645">
                    <a:extLst>
                      <a:ext uri="{FF2B5EF4-FFF2-40B4-BE49-F238E27FC236}">
                        <a16:creationId xmlns:a16="http://schemas.microsoft.com/office/drawing/2014/main" id="{CFBF8DCD-C40F-9B23-BCCA-8BA6D7BC7605}"/>
                      </a:ext>
                    </a:extLst>
                  </p:cNvPr>
                  <p:cNvGrpSpPr/>
                  <p:nvPr/>
                </p:nvGrpSpPr>
                <p:grpSpPr>
                  <a:xfrm>
                    <a:off x="2502111" y="5623195"/>
                    <a:ext cx="151161" cy="510900"/>
                    <a:chOff x="2582578" y="5623195"/>
                    <a:chExt cx="151161" cy="510900"/>
                  </a:xfrm>
                </p:grpSpPr>
                <p:sp>
                  <p:nvSpPr>
                    <p:cNvPr id="671" name="Rectangle 48">
                      <a:extLst>
                        <a:ext uri="{FF2B5EF4-FFF2-40B4-BE49-F238E27FC236}">
                          <a16:creationId xmlns:a16="http://schemas.microsoft.com/office/drawing/2014/main" id="{74C60837-4CC3-CDB4-8B78-60B165A4AF7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82578" y="5623195"/>
                      <a:ext cx="15115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p:txBody>
                </p:sp>
                <p:sp>
                  <p:nvSpPr>
                    <p:cNvPr id="672" name="Rectangle 48">
                      <a:extLst>
                        <a:ext uri="{FF2B5EF4-FFF2-40B4-BE49-F238E27FC236}">
                          <a16:creationId xmlns:a16="http://schemas.microsoft.com/office/drawing/2014/main" id="{9D59EFE6-A05A-A108-69F5-3FFEAEDAA34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82581" y="5791200"/>
                      <a:ext cx="151158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</a:p>
                  </p:txBody>
                </p:sp>
                <p:sp>
                  <p:nvSpPr>
                    <p:cNvPr id="673" name="Rectangle 48">
                      <a:extLst>
                        <a:ext uri="{FF2B5EF4-FFF2-40B4-BE49-F238E27FC236}">
                          <a16:creationId xmlns:a16="http://schemas.microsoft.com/office/drawing/2014/main" id="{050B8F9C-C44B-05B3-1DF6-DEC60AFDFE0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582579" y="5972858"/>
                      <a:ext cx="151158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</a:t>
                      </a:r>
                    </a:p>
                  </p:txBody>
                </p:sp>
              </p:grpSp>
              <p:grpSp>
                <p:nvGrpSpPr>
                  <p:cNvPr id="647" name="Group 646">
                    <a:extLst>
                      <a:ext uri="{FF2B5EF4-FFF2-40B4-BE49-F238E27FC236}">
                        <a16:creationId xmlns:a16="http://schemas.microsoft.com/office/drawing/2014/main" id="{23817504-C976-B2CF-939D-3FB8B43DA9E7}"/>
                      </a:ext>
                    </a:extLst>
                  </p:cNvPr>
                  <p:cNvGrpSpPr/>
                  <p:nvPr/>
                </p:nvGrpSpPr>
                <p:grpSpPr>
                  <a:xfrm>
                    <a:off x="5136030" y="5623195"/>
                    <a:ext cx="75579" cy="472776"/>
                    <a:chOff x="5253074" y="5623195"/>
                    <a:chExt cx="75579" cy="472776"/>
                  </a:xfrm>
                </p:grpSpPr>
                <p:sp>
                  <p:nvSpPr>
                    <p:cNvPr id="668" name="Rectangle 51">
                      <a:extLst>
                        <a:ext uri="{FF2B5EF4-FFF2-40B4-BE49-F238E27FC236}">
                          <a16:creationId xmlns:a16="http://schemas.microsoft.com/office/drawing/2014/main" id="{4DD823DE-36B2-F424-9693-DE8F475D4B9D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53074" y="5623195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p:txBody>
                </p:sp>
                <p:sp>
                  <p:nvSpPr>
                    <p:cNvPr id="670" name="Rectangle 51">
                      <a:extLst>
                        <a:ext uri="{FF2B5EF4-FFF2-40B4-BE49-F238E27FC236}">
                          <a16:creationId xmlns:a16="http://schemas.microsoft.com/office/drawing/2014/main" id="{59B0AE8C-9EC0-D809-77E1-508AA3D28DE5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5262010" y="5972859"/>
                      <a:ext cx="57709" cy="12311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p:txBody>
                </p:sp>
              </p:grpSp>
              <p:grpSp>
                <p:nvGrpSpPr>
                  <p:cNvPr id="648" name="Group 647">
                    <a:extLst>
                      <a:ext uri="{FF2B5EF4-FFF2-40B4-BE49-F238E27FC236}">
                        <a16:creationId xmlns:a16="http://schemas.microsoft.com/office/drawing/2014/main" id="{AB234F51-0F82-C393-6038-3B0396DF13E7}"/>
                      </a:ext>
                    </a:extLst>
                  </p:cNvPr>
                  <p:cNvGrpSpPr/>
                  <p:nvPr/>
                </p:nvGrpSpPr>
                <p:grpSpPr>
                  <a:xfrm>
                    <a:off x="3986174" y="5623195"/>
                    <a:ext cx="151158" cy="510900"/>
                    <a:chOff x="4052011" y="5623195"/>
                    <a:chExt cx="151158" cy="510900"/>
                  </a:xfrm>
                </p:grpSpPr>
                <p:sp>
                  <p:nvSpPr>
                    <p:cNvPr id="665" name="Rectangle 51">
                      <a:extLst>
                        <a:ext uri="{FF2B5EF4-FFF2-40B4-BE49-F238E27FC236}">
                          <a16:creationId xmlns:a16="http://schemas.microsoft.com/office/drawing/2014/main" id="{3C11A36E-C1A3-F1CF-13B0-51E23F90DA34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52011" y="5623195"/>
                      <a:ext cx="151158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</a:t>
                      </a:r>
                    </a:p>
                  </p:txBody>
                </p:sp>
                <p:sp>
                  <p:nvSpPr>
                    <p:cNvPr id="666" name="Rectangle 51">
                      <a:extLst>
                        <a:ext uri="{FF2B5EF4-FFF2-40B4-BE49-F238E27FC236}">
                          <a16:creationId xmlns:a16="http://schemas.microsoft.com/office/drawing/2014/main" id="{65FB2E3F-2DDB-865B-F26D-6CD13BE1A8AF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9800" y="5791200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667" name="Rectangle 51">
                      <a:extLst>
                        <a:ext uri="{FF2B5EF4-FFF2-40B4-BE49-F238E27FC236}">
                          <a16:creationId xmlns:a16="http://schemas.microsoft.com/office/drawing/2014/main" id="{2FBA3D88-9FFE-73B0-0A5A-E5952A674CC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089800" y="5972859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p:txBody>
                </p:sp>
              </p:grpSp>
              <p:grpSp>
                <p:nvGrpSpPr>
                  <p:cNvPr id="649" name="Group 648">
                    <a:extLst>
                      <a:ext uri="{FF2B5EF4-FFF2-40B4-BE49-F238E27FC236}">
                        <a16:creationId xmlns:a16="http://schemas.microsoft.com/office/drawing/2014/main" id="{E6A31ED4-50B2-26C8-4F6E-1F3DB6E999D4}"/>
                      </a:ext>
                    </a:extLst>
                  </p:cNvPr>
                  <p:cNvGrpSpPr/>
                  <p:nvPr/>
                </p:nvGrpSpPr>
                <p:grpSpPr>
                  <a:xfrm>
                    <a:off x="3614428" y="5623195"/>
                    <a:ext cx="151158" cy="510900"/>
                    <a:chOff x="3687580" y="5623195"/>
                    <a:chExt cx="151158" cy="510900"/>
                  </a:xfrm>
                </p:grpSpPr>
                <p:sp>
                  <p:nvSpPr>
                    <p:cNvPr id="662" name="Rectangle 51">
                      <a:extLst>
                        <a:ext uri="{FF2B5EF4-FFF2-40B4-BE49-F238E27FC236}">
                          <a16:creationId xmlns:a16="http://schemas.microsoft.com/office/drawing/2014/main" id="{21314401-DEA3-BECB-EA1D-A2C12B825A4E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687580" y="5623195"/>
                      <a:ext cx="151158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</a:p>
                  </p:txBody>
                </p:sp>
                <p:sp>
                  <p:nvSpPr>
                    <p:cNvPr id="663" name="Rectangle 51">
                      <a:extLst>
                        <a:ext uri="{FF2B5EF4-FFF2-40B4-BE49-F238E27FC236}">
                          <a16:creationId xmlns:a16="http://schemas.microsoft.com/office/drawing/2014/main" id="{0D4DC1A1-56CA-747D-7B94-2F27645EFA1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725371" y="5791200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664" name="Rectangle 51">
                      <a:extLst>
                        <a:ext uri="{FF2B5EF4-FFF2-40B4-BE49-F238E27FC236}">
                          <a16:creationId xmlns:a16="http://schemas.microsoft.com/office/drawing/2014/main" id="{E30E55E1-3A12-30BB-842C-269E23CD650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725371" y="5972859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</a:p>
                  </p:txBody>
                </p:sp>
              </p:grpSp>
              <p:grpSp>
                <p:nvGrpSpPr>
                  <p:cNvPr id="650" name="Group 649">
                    <a:extLst>
                      <a:ext uri="{FF2B5EF4-FFF2-40B4-BE49-F238E27FC236}">
                        <a16:creationId xmlns:a16="http://schemas.microsoft.com/office/drawing/2014/main" id="{1D5A4B59-0326-DF6D-FA55-462CDEC04498}"/>
                      </a:ext>
                    </a:extLst>
                  </p:cNvPr>
                  <p:cNvGrpSpPr/>
                  <p:nvPr/>
                </p:nvGrpSpPr>
                <p:grpSpPr>
                  <a:xfrm>
                    <a:off x="2869721" y="5623195"/>
                    <a:ext cx="510926" cy="510902"/>
                    <a:chOff x="2935557" y="5623195"/>
                    <a:chExt cx="510926" cy="510902"/>
                  </a:xfrm>
                </p:grpSpPr>
                <p:sp>
                  <p:nvSpPr>
                    <p:cNvPr id="659" name="Rectangle 51">
                      <a:extLst>
                        <a:ext uri="{FF2B5EF4-FFF2-40B4-BE49-F238E27FC236}">
                          <a16:creationId xmlns:a16="http://schemas.microsoft.com/office/drawing/2014/main" id="{516DBE0C-1099-07C0-BE23-587C23CB0F5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295325" y="5623195"/>
                      <a:ext cx="151158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</a:p>
                  </p:txBody>
                </p:sp>
                <p:sp>
                  <p:nvSpPr>
                    <p:cNvPr id="660" name="Rectangle 51">
                      <a:extLst>
                        <a:ext uri="{FF2B5EF4-FFF2-40B4-BE49-F238E27FC236}">
                          <a16:creationId xmlns:a16="http://schemas.microsoft.com/office/drawing/2014/main" id="{18C59E9A-1470-B9C6-1329-B4C05362A0A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33114" y="5791200"/>
                      <a:ext cx="7557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p:txBody>
                </p:sp>
                <p:sp>
                  <p:nvSpPr>
                    <p:cNvPr id="661" name="Rectangle 51">
                      <a:extLst>
                        <a:ext uri="{FF2B5EF4-FFF2-40B4-BE49-F238E27FC236}">
                          <a16:creationId xmlns:a16="http://schemas.microsoft.com/office/drawing/2014/main" id="{5F922C11-B634-6E00-98DD-9193559369C1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3333114" y="5972860"/>
                      <a:ext cx="7557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p:txBody>
                </p:sp>
                <p:sp>
                  <p:nvSpPr>
                    <p:cNvPr id="783" name="Rectangle 51">
                      <a:extLst>
                        <a:ext uri="{FF2B5EF4-FFF2-40B4-BE49-F238E27FC236}">
                          <a16:creationId xmlns:a16="http://schemas.microsoft.com/office/drawing/2014/main" id="{CC0DC7AA-343E-9DFD-8428-64BA602CD1A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935557" y="5623195"/>
                      <a:ext cx="151158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</a:t>
                      </a:r>
                    </a:p>
                  </p:txBody>
                </p:sp>
                <p:sp>
                  <p:nvSpPr>
                    <p:cNvPr id="784" name="Rectangle 51">
                      <a:extLst>
                        <a:ext uri="{FF2B5EF4-FFF2-40B4-BE49-F238E27FC236}">
                          <a16:creationId xmlns:a16="http://schemas.microsoft.com/office/drawing/2014/main" id="{B446AC76-294C-089B-E2BA-50C3A47B591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973347" y="5791200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p:txBody>
                </p:sp>
                <p:sp>
                  <p:nvSpPr>
                    <p:cNvPr id="785" name="Rectangle 51">
                      <a:extLst>
                        <a:ext uri="{FF2B5EF4-FFF2-40B4-BE49-F238E27FC236}">
                          <a16:creationId xmlns:a16="http://schemas.microsoft.com/office/drawing/2014/main" id="{D0E7D02A-A4A8-6A0E-DA4C-943D42C47777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935557" y="5972858"/>
                      <a:ext cx="151158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</a:t>
                      </a:r>
                    </a:p>
                  </p:txBody>
                </p:sp>
              </p:grpSp>
              <p:grpSp>
                <p:nvGrpSpPr>
                  <p:cNvPr id="651" name="Group 650">
                    <a:extLst>
                      <a:ext uri="{FF2B5EF4-FFF2-40B4-BE49-F238E27FC236}">
                        <a16:creationId xmlns:a16="http://schemas.microsoft.com/office/drawing/2014/main" id="{FF24E39C-588B-25D0-20B9-7BF61F99CB2D}"/>
                      </a:ext>
                    </a:extLst>
                  </p:cNvPr>
                  <p:cNvGrpSpPr/>
                  <p:nvPr/>
                </p:nvGrpSpPr>
                <p:grpSpPr>
                  <a:xfrm>
                    <a:off x="4396021" y="5623195"/>
                    <a:ext cx="439583" cy="510900"/>
                    <a:chOff x="4505749" y="5623195"/>
                    <a:chExt cx="439583" cy="510900"/>
                  </a:xfrm>
                </p:grpSpPr>
                <p:sp>
                  <p:nvSpPr>
                    <p:cNvPr id="656" name="Rectangle 51">
                      <a:extLst>
                        <a:ext uri="{FF2B5EF4-FFF2-40B4-BE49-F238E27FC236}">
                          <a16:creationId xmlns:a16="http://schemas.microsoft.com/office/drawing/2014/main" id="{A6C189D7-18E4-FD7D-1AC4-06935B856E78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69752" y="5623195"/>
                      <a:ext cx="7557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</a:p>
                  </p:txBody>
                </p:sp>
                <p:sp>
                  <p:nvSpPr>
                    <p:cNvPr id="657" name="Rectangle 51">
                      <a:extLst>
                        <a:ext uri="{FF2B5EF4-FFF2-40B4-BE49-F238E27FC236}">
                          <a16:creationId xmlns:a16="http://schemas.microsoft.com/office/drawing/2014/main" id="{BC844C11-33BC-7E1B-4D7F-2EE32835D2B0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69753" y="5791200"/>
                      <a:ext cx="7557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</a:t>
                      </a:r>
                    </a:p>
                  </p:txBody>
                </p:sp>
                <p:sp>
                  <p:nvSpPr>
                    <p:cNvPr id="658" name="Rectangle 51">
                      <a:extLst>
                        <a:ext uri="{FF2B5EF4-FFF2-40B4-BE49-F238E27FC236}">
                          <a16:creationId xmlns:a16="http://schemas.microsoft.com/office/drawing/2014/main" id="{1A8FA88E-415B-C9C9-FCFC-3E06941E0B2E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869753" y="5972858"/>
                      <a:ext cx="75579" cy="161237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p:txBody>
                </p:sp>
                <p:sp>
                  <p:nvSpPr>
                    <p:cNvPr id="786" name="Rectangle 51">
                      <a:extLst>
                        <a:ext uri="{FF2B5EF4-FFF2-40B4-BE49-F238E27FC236}">
                          <a16:creationId xmlns:a16="http://schemas.microsoft.com/office/drawing/2014/main" id="{0FD5C221-5F23-0657-FEC6-3EA01CD9609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749" y="5623195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</a:p>
                  </p:txBody>
                </p:sp>
                <p:sp>
                  <p:nvSpPr>
                    <p:cNvPr id="787" name="Rectangle 51">
                      <a:extLst>
                        <a:ext uri="{FF2B5EF4-FFF2-40B4-BE49-F238E27FC236}">
                          <a16:creationId xmlns:a16="http://schemas.microsoft.com/office/drawing/2014/main" id="{672DD091-766F-6264-B04B-078628D02172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752" y="5791200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</a:p>
                  </p:txBody>
                </p:sp>
                <p:sp>
                  <p:nvSpPr>
                    <p:cNvPr id="788" name="Rectangle 51">
                      <a:extLst>
                        <a:ext uri="{FF2B5EF4-FFF2-40B4-BE49-F238E27FC236}">
                          <a16:creationId xmlns:a16="http://schemas.microsoft.com/office/drawing/2014/main" id="{62E15298-706D-0910-10AC-41FCC8C6F96A}"/>
                        </a:ext>
                      </a:extLst>
                    </p:cNvPr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4505752" y="5972857"/>
                      <a:ext cx="75579" cy="16123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  <p:txBody>
                    <a:bodyPr vert="horz" wrap="none" lIns="0" tIns="0" rIns="0" bIns="0" numCol="1" anchor="t" anchorCtr="0" compatLnSpc="1">
                      <a:prstTxWarp prst="textNoShape">
                        <a:avLst/>
                      </a:prstTxWarp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0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081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1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16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520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224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19928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6320" algn="l" defTabSz="914081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ctr" defTabSz="457109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65000"/>
                              <a:lumOff val="35000"/>
                            </a:srgbClr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</a:p>
                  </p:txBody>
                </p:sp>
              </p:grpSp>
              <p:sp>
                <p:nvSpPr>
                  <p:cNvPr id="653" name="Rectangle 55">
                    <a:extLst>
                      <a:ext uri="{FF2B5EF4-FFF2-40B4-BE49-F238E27FC236}">
                        <a16:creationId xmlns:a16="http://schemas.microsoft.com/office/drawing/2014/main" id="{E5FAAFAF-3153-245A-B37A-FBD7871FC77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7350113" y="5623195"/>
                    <a:ext cx="57709" cy="1231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defPPr>
                      <a:defRPr lang="en-US"/>
                    </a:defPPr>
                    <a:lvl1pPr marL="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0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081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1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16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520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224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19928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6320" algn="l" defTabSz="914081" rtl="0" eaLnBrk="1" latinLnBrk="0" hangingPunct="1"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457109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>
                            <a:lumMod val="65000"/>
                            <a:lumOff val="35000"/>
                          </a:srgbClr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0</a:t>
                    </a:r>
                  </a:p>
                </p:txBody>
              </p:sp>
            </p:grpSp>
            <p:grpSp>
              <p:nvGrpSpPr>
                <p:cNvPr id="792" name="Group 791">
                  <a:extLst>
                    <a:ext uri="{FF2B5EF4-FFF2-40B4-BE49-F238E27FC236}">
                      <a16:creationId xmlns:a16="http://schemas.microsoft.com/office/drawing/2014/main" id="{90EF90AB-E1A9-E065-717B-F8EFF58DE4E0}"/>
                    </a:ext>
                  </a:extLst>
                </p:cNvPr>
                <p:cNvGrpSpPr/>
                <p:nvPr/>
              </p:nvGrpSpPr>
              <p:grpSpPr>
                <a:xfrm>
                  <a:off x="7179892" y="3774293"/>
                  <a:ext cx="4559905" cy="1191419"/>
                  <a:chOff x="1256404" y="3774293"/>
                  <a:chExt cx="4559905" cy="1191419"/>
                </a:xfrm>
              </p:grpSpPr>
              <p:cxnSp>
                <p:nvCxnSpPr>
                  <p:cNvPr id="793" name="Straight Connector 792">
                    <a:extLst>
                      <a:ext uri="{FF2B5EF4-FFF2-40B4-BE49-F238E27FC236}">
                        <a16:creationId xmlns:a16="http://schemas.microsoft.com/office/drawing/2014/main" id="{33D9036A-D97A-43CC-D367-620E3D85DDF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56404" y="3774293"/>
                    <a:ext cx="4559905" cy="0"/>
                  </a:xfrm>
                  <a:prstGeom prst="line">
                    <a:avLst/>
                  </a:prstGeom>
                  <a:ln w="9525" cap="rnd">
                    <a:solidFill>
                      <a:schemeClr val="accent5"/>
                    </a:solidFill>
                    <a:prstDash val="sysDash"/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94" name="Straight Connector 793">
                    <a:extLst>
                      <a:ext uri="{FF2B5EF4-FFF2-40B4-BE49-F238E27FC236}">
                        <a16:creationId xmlns:a16="http://schemas.microsoft.com/office/drawing/2014/main" id="{70D0C180-AB2C-DAEC-3185-9C40B8B2C4B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3798993" y="3777241"/>
                    <a:ext cx="0" cy="1188471"/>
                  </a:xfrm>
                  <a:prstGeom prst="line">
                    <a:avLst/>
                  </a:prstGeom>
                  <a:ln w="9525" cap="rnd">
                    <a:solidFill>
                      <a:schemeClr val="accent5"/>
                    </a:solidFill>
                    <a:prstDash val="sysDash"/>
                    <a:round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795" name="TextBox 794">
                  <a:extLst>
                    <a:ext uri="{FF2B5EF4-FFF2-40B4-BE49-F238E27FC236}">
                      <a16:creationId xmlns:a16="http://schemas.microsoft.com/office/drawing/2014/main" id="{C366C734-E2C8-E5FD-0C67-6CA7448E12E4}"/>
                    </a:ext>
                  </a:extLst>
                </p:cNvPr>
                <p:cNvSpPr txBox="1"/>
                <p:nvPr/>
              </p:nvSpPr>
              <p:spPr>
                <a:xfrm>
                  <a:off x="11447594" y="3407058"/>
                  <a:ext cx="744406" cy="4001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1" indent="0" algn="l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2063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R</a:t>
                  </a:r>
                  <a:b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2063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sz="1000" b="0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2063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OS</a:t>
                  </a:r>
                </a:p>
              </p:txBody>
            </p:sp>
            <p:sp>
              <p:nvSpPr>
                <p:cNvPr id="796" name="TextBox 795">
                  <a:extLst>
                    <a:ext uri="{FF2B5EF4-FFF2-40B4-BE49-F238E27FC236}">
                      <a16:creationId xmlns:a16="http://schemas.microsoft.com/office/drawing/2014/main" id="{89E614A0-854A-5DAA-DCFF-34F472E08EB7}"/>
                    </a:ext>
                  </a:extLst>
                </p:cNvPr>
                <p:cNvSpPr txBox="1"/>
                <p:nvPr/>
              </p:nvSpPr>
              <p:spPr>
                <a:xfrm>
                  <a:off x="7678581" y="3414143"/>
                  <a:ext cx="995404" cy="3847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1" indent="0" algn="l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3.9 months</a:t>
                  </a:r>
                  <a:b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sz="900" b="0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000000">
                          <a:lumMod val="50000"/>
                          <a:lumOff val="50000"/>
                        </a:srgbClr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OS</a:t>
                  </a:r>
                  <a:endParaRPr kumimoji="0" lang="en-US" sz="1000" b="0" i="0" u="none" strike="noStrike" kern="1200" cap="none" spc="-50" normalizeH="0" baseline="0" noProof="0" dirty="0">
                    <a:ln>
                      <a:noFill/>
                    </a:ln>
                    <a:solidFill>
                      <a:srgbClr val="000000">
                        <a:lumMod val="50000"/>
                        <a:lumOff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797" name="TextBox 796">
                  <a:extLst>
                    <a:ext uri="{FF2B5EF4-FFF2-40B4-BE49-F238E27FC236}">
                      <a16:creationId xmlns:a16="http://schemas.microsoft.com/office/drawing/2014/main" id="{62B6A50D-5ADE-F444-8FCC-92A96B531184}"/>
                    </a:ext>
                  </a:extLst>
                </p:cNvPr>
                <p:cNvSpPr txBox="1"/>
                <p:nvPr/>
              </p:nvSpPr>
              <p:spPr>
                <a:xfrm>
                  <a:off x="8458913" y="3414304"/>
                  <a:ext cx="1143157" cy="400110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1" indent="0" algn="l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4D8D7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9.3 months</a:t>
                  </a:r>
                  <a:b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4D8D7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sz="1000" b="0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4D8D75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OS</a:t>
                  </a:r>
                </a:p>
              </p:txBody>
            </p:sp>
            <p:sp>
              <p:nvSpPr>
                <p:cNvPr id="798" name="TextBox 797">
                  <a:extLst>
                    <a:ext uri="{FF2B5EF4-FFF2-40B4-BE49-F238E27FC236}">
                      <a16:creationId xmlns:a16="http://schemas.microsoft.com/office/drawing/2014/main" id="{6056B204-347B-BC0A-4B64-505C3C36631C}"/>
                    </a:ext>
                  </a:extLst>
                </p:cNvPr>
                <p:cNvSpPr txBox="1"/>
                <p:nvPr/>
              </p:nvSpPr>
              <p:spPr>
                <a:xfrm>
                  <a:off x="9350368" y="3517511"/>
                  <a:ext cx="744406" cy="246221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0" marR="0" lvl="1" indent="0" algn="ctr" defTabSz="914081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12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1200" cap="none" spc="-50" normalizeH="0" baseline="0" noProof="0" dirty="0">
                      <a:ln>
                        <a:noFill/>
                      </a:ln>
                      <a:solidFill>
                        <a:srgbClr val="206367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50%</a:t>
                  </a:r>
                  <a:endParaRPr kumimoji="0" lang="en-US" sz="1000" b="0" i="0" u="none" strike="noStrike" kern="1200" cap="none" spc="-50" normalizeH="0" baseline="0" noProof="0" dirty="0">
                    <a:ln>
                      <a:noFill/>
                    </a:ln>
                    <a:solidFill>
                      <a:srgbClr val="20636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00" name="Freeform 799">
                  <a:extLst>
                    <a:ext uri="{FF2B5EF4-FFF2-40B4-BE49-F238E27FC236}">
                      <a16:creationId xmlns:a16="http://schemas.microsoft.com/office/drawing/2014/main" id="{A5FAAE84-86B5-A650-A580-9FE42201C188}"/>
                    </a:ext>
                  </a:extLst>
                </p:cNvPr>
                <p:cNvSpPr/>
                <p:nvPr/>
              </p:nvSpPr>
              <p:spPr>
                <a:xfrm>
                  <a:off x="7177088" y="2557463"/>
                  <a:ext cx="4271962" cy="1198562"/>
                </a:xfrm>
                <a:custGeom>
                  <a:avLst/>
                  <a:gdLst>
                    <a:gd name="connsiteX0" fmla="*/ 4271962 w 4271962"/>
                    <a:gd name="connsiteY0" fmla="*/ 1195387 h 1195387"/>
                    <a:gd name="connsiteX1" fmla="*/ 2100262 w 4271962"/>
                    <a:gd name="connsiteY1" fmla="*/ 1195387 h 1195387"/>
                    <a:gd name="connsiteX2" fmla="*/ 2100262 w 4271962"/>
                    <a:gd name="connsiteY2" fmla="*/ 1047750 h 1195387"/>
                    <a:gd name="connsiteX3" fmla="*/ 2043112 w 4271962"/>
                    <a:gd name="connsiteY3" fmla="*/ 1047750 h 1195387"/>
                    <a:gd name="connsiteX4" fmla="*/ 2043112 w 4271962"/>
                    <a:gd name="connsiteY4" fmla="*/ 923925 h 1195387"/>
                    <a:gd name="connsiteX5" fmla="*/ 1995487 w 4271962"/>
                    <a:gd name="connsiteY5" fmla="*/ 923925 h 1195387"/>
                    <a:gd name="connsiteX6" fmla="*/ 1995487 w 4271962"/>
                    <a:gd name="connsiteY6" fmla="*/ 809625 h 1195387"/>
                    <a:gd name="connsiteX7" fmla="*/ 1957387 w 4271962"/>
                    <a:gd name="connsiteY7" fmla="*/ 809625 h 1195387"/>
                    <a:gd name="connsiteX8" fmla="*/ 1957387 w 4271962"/>
                    <a:gd name="connsiteY8" fmla="*/ 685800 h 1195387"/>
                    <a:gd name="connsiteX9" fmla="*/ 1933575 w 4271962"/>
                    <a:gd name="connsiteY9" fmla="*/ 685800 h 1195387"/>
                    <a:gd name="connsiteX10" fmla="*/ 1933575 w 4271962"/>
                    <a:gd name="connsiteY10" fmla="*/ 561975 h 1195387"/>
                    <a:gd name="connsiteX11" fmla="*/ 1647825 w 4271962"/>
                    <a:gd name="connsiteY11" fmla="*/ 561975 h 1195387"/>
                    <a:gd name="connsiteX12" fmla="*/ 1647825 w 4271962"/>
                    <a:gd name="connsiteY12" fmla="*/ 466725 h 1195387"/>
                    <a:gd name="connsiteX13" fmla="*/ 1581150 w 4271962"/>
                    <a:gd name="connsiteY13" fmla="*/ 466725 h 1195387"/>
                    <a:gd name="connsiteX14" fmla="*/ 1581150 w 4271962"/>
                    <a:gd name="connsiteY14" fmla="*/ 376237 h 1195387"/>
                    <a:gd name="connsiteX15" fmla="*/ 1547812 w 4271962"/>
                    <a:gd name="connsiteY15" fmla="*/ 376237 h 1195387"/>
                    <a:gd name="connsiteX16" fmla="*/ 1547812 w 4271962"/>
                    <a:gd name="connsiteY16" fmla="*/ 290512 h 1195387"/>
                    <a:gd name="connsiteX17" fmla="*/ 1238250 w 4271962"/>
                    <a:gd name="connsiteY17" fmla="*/ 290512 h 1195387"/>
                    <a:gd name="connsiteX18" fmla="*/ 1238250 w 4271962"/>
                    <a:gd name="connsiteY18" fmla="*/ 138112 h 1195387"/>
                    <a:gd name="connsiteX19" fmla="*/ 1038225 w 4271962"/>
                    <a:gd name="connsiteY19" fmla="*/ 138112 h 1195387"/>
                    <a:gd name="connsiteX20" fmla="*/ 1038225 w 4271962"/>
                    <a:gd name="connsiteY20" fmla="*/ 61912 h 1195387"/>
                    <a:gd name="connsiteX21" fmla="*/ 604837 w 4271962"/>
                    <a:gd name="connsiteY21" fmla="*/ 61912 h 1195387"/>
                    <a:gd name="connsiteX22" fmla="*/ 604837 w 4271962"/>
                    <a:gd name="connsiteY22" fmla="*/ 0 h 1195387"/>
                    <a:gd name="connsiteX23" fmla="*/ 0 w 4271962"/>
                    <a:gd name="connsiteY23" fmla="*/ 0 h 11953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271962" h="1195387">
                      <a:moveTo>
                        <a:pt x="4271962" y="1195387"/>
                      </a:moveTo>
                      <a:lnTo>
                        <a:pt x="2100262" y="1195387"/>
                      </a:lnTo>
                      <a:lnTo>
                        <a:pt x="2100262" y="1047750"/>
                      </a:lnTo>
                      <a:lnTo>
                        <a:pt x="2043112" y="1047750"/>
                      </a:lnTo>
                      <a:lnTo>
                        <a:pt x="2043112" y="923925"/>
                      </a:lnTo>
                      <a:lnTo>
                        <a:pt x="1995487" y="923925"/>
                      </a:lnTo>
                      <a:lnTo>
                        <a:pt x="1995487" y="809625"/>
                      </a:lnTo>
                      <a:lnTo>
                        <a:pt x="1957387" y="809625"/>
                      </a:lnTo>
                      <a:lnTo>
                        <a:pt x="1957387" y="685800"/>
                      </a:lnTo>
                      <a:lnTo>
                        <a:pt x="1933575" y="685800"/>
                      </a:lnTo>
                      <a:lnTo>
                        <a:pt x="1933575" y="561975"/>
                      </a:lnTo>
                      <a:lnTo>
                        <a:pt x="1647825" y="561975"/>
                      </a:lnTo>
                      <a:lnTo>
                        <a:pt x="1647825" y="466725"/>
                      </a:lnTo>
                      <a:lnTo>
                        <a:pt x="1581150" y="466725"/>
                      </a:lnTo>
                      <a:lnTo>
                        <a:pt x="1581150" y="376237"/>
                      </a:lnTo>
                      <a:lnTo>
                        <a:pt x="1547812" y="376237"/>
                      </a:lnTo>
                      <a:lnTo>
                        <a:pt x="1547812" y="290512"/>
                      </a:lnTo>
                      <a:lnTo>
                        <a:pt x="1238250" y="290512"/>
                      </a:lnTo>
                      <a:lnTo>
                        <a:pt x="1238250" y="138112"/>
                      </a:lnTo>
                      <a:lnTo>
                        <a:pt x="1038225" y="138112"/>
                      </a:lnTo>
                      <a:lnTo>
                        <a:pt x="1038225" y="61912"/>
                      </a:lnTo>
                      <a:lnTo>
                        <a:pt x="604837" y="61912"/>
                      </a:lnTo>
                      <a:lnTo>
                        <a:pt x="604837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25400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1170" name="Group 1169">
                  <a:extLst>
                    <a:ext uri="{FF2B5EF4-FFF2-40B4-BE49-F238E27FC236}">
                      <a16:creationId xmlns:a16="http://schemas.microsoft.com/office/drawing/2014/main" id="{C3EFD866-F566-CD6E-A4D5-89F1FF7595A9}"/>
                    </a:ext>
                  </a:extLst>
                </p:cNvPr>
                <p:cNvGrpSpPr/>
                <p:nvPr/>
              </p:nvGrpSpPr>
              <p:grpSpPr>
                <a:xfrm>
                  <a:off x="8042300" y="2580329"/>
                  <a:ext cx="3435363" cy="1207898"/>
                  <a:chOff x="8042300" y="2576839"/>
                  <a:chExt cx="3435363" cy="1207898"/>
                </a:xfrm>
              </p:grpSpPr>
              <p:grpSp>
                <p:nvGrpSpPr>
                  <p:cNvPr id="1125" name="Group 1124">
                    <a:extLst>
                      <a:ext uri="{FF2B5EF4-FFF2-40B4-BE49-F238E27FC236}">
                        <a16:creationId xmlns:a16="http://schemas.microsoft.com/office/drawing/2014/main" id="{C0E53CE2-3CD2-49D2-6A3D-45C213D1B2E4}"/>
                      </a:ext>
                    </a:extLst>
                  </p:cNvPr>
                  <p:cNvGrpSpPr/>
                  <p:nvPr/>
                </p:nvGrpSpPr>
                <p:grpSpPr>
                  <a:xfrm>
                    <a:off x="11411108" y="3717515"/>
                    <a:ext cx="66555" cy="67222"/>
                    <a:chOff x="16071153" y="2826710"/>
                    <a:chExt cx="66555" cy="67222"/>
                  </a:xfrm>
                </p:grpSpPr>
                <p:cxnSp>
                  <p:nvCxnSpPr>
                    <p:cNvPr id="1095" name="Straight Connector 1094">
                      <a:extLst>
                        <a:ext uri="{FF2B5EF4-FFF2-40B4-BE49-F238E27FC236}">
                          <a16:creationId xmlns:a16="http://schemas.microsoft.com/office/drawing/2014/main" id="{58DA2046-9891-BA6A-B8E4-1817EB2E408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16104431" y="282671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14" name="Straight Connector 1113">
                      <a:extLst>
                        <a:ext uri="{FF2B5EF4-FFF2-40B4-BE49-F238E27FC236}">
                          <a16:creationId xmlns:a16="http://schemas.microsoft.com/office/drawing/2014/main" id="{67694910-3EFD-3149-886E-2691DD4F6B5A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 flipH="1">
                      <a:off x="16071153" y="2862722"/>
                      <a:ext cx="66555" cy="0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cxnSp>
                <p:nvCxnSpPr>
                  <p:cNvPr id="1127" name="Straight Connector 1126">
                    <a:extLst>
                      <a:ext uri="{FF2B5EF4-FFF2-40B4-BE49-F238E27FC236}">
                        <a16:creationId xmlns:a16="http://schemas.microsoft.com/office/drawing/2014/main" id="{B172846A-6455-F522-16C5-9BB69499257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448830" y="3717515"/>
                    <a:ext cx="0" cy="67222"/>
                  </a:xfrm>
                  <a:prstGeom prst="line">
                    <a:avLst/>
                  </a:prstGeom>
                  <a:ln w="1905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0" name="Straight Connector 1129">
                    <a:extLst>
                      <a:ext uri="{FF2B5EF4-FFF2-40B4-BE49-F238E27FC236}">
                        <a16:creationId xmlns:a16="http://schemas.microsoft.com/office/drawing/2014/main" id="{C4CD964E-9303-7641-2982-FC283F0563E3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0022458" y="3717515"/>
                    <a:ext cx="0" cy="67222"/>
                  </a:xfrm>
                  <a:prstGeom prst="line">
                    <a:avLst/>
                  </a:prstGeom>
                  <a:ln w="1905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3" name="Straight Connector 1132">
                    <a:extLst>
                      <a:ext uri="{FF2B5EF4-FFF2-40B4-BE49-F238E27FC236}">
                        <a16:creationId xmlns:a16="http://schemas.microsoft.com/office/drawing/2014/main" id="{96A29432-70A1-514D-460D-C26551F1D23D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9714168" y="3717515"/>
                    <a:ext cx="0" cy="67222"/>
                  </a:xfrm>
                  <a:prstGeom prst="line">
                    <a:avLst/>
                  </a:prstGeom>
                  <a:ln w="19050">
                    <a:solidFill>
                      <a:schemeClr val="accent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grpSp>
                <p:nvGrpSpPr>
                  <p:cNvPr id="1169" name="Group 1168">
                    <a:extLst>
                      <a:ext uri="{FF2B5EF4-FFF2-40B4-BE49-F238E27FC236}">
                        <a16:creationId xmlns:a16="http://schemas.microsoft.com/office/drawing/2014/main" id="{CB5F74F8-68B3-CEB2-5EB4-B35815EC74A6}"/>
                      </a:ext>
                    </a:extLst>
                  </p:cNvPr>
                  <p:cNvGrpSpPr/>
                  <p:nvPr/>
                </p:nvGrpSpPr>
                <p:grpSpPr>
                  <a:xfrm>
                    <a:off x="8042300" y="2576839"/>
                    <a:ext cx="1550298" cy="1207898"/>
                    <a:chOff x="8042300" y="2576839"/>
                    <a:chExt cx="1550298" cy="1207898"/>
                  </a:xfrm>
                </p:grpSpPr>
                <p:cxnSp>
                  <p:nvCxnSpPr>
                    <p:cNvPr id="1136" name="Straight Connector 1135">
                      <a:extLst>
                        <a:ext uri="{FF2B5EF4-FFF2-40B4-BE49-F238E27FC236}">
                          <a16:creationId xmlns:a16="http://schemas.microsoft.com/office/drawing/2014/main" id="{16DC030A-1CCA-F5A9-A5F4-F4BFCFC77DB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92598" y="3717515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39" name="Straight Connector 1138">
                      <a:extLst>
                        <a:ext uri="{FF2B5EF4-FFF2-40B4-BE49-F238E27FC236}">
                          <a16:creationId xmlns:a16="http://schemas.microsoft.com/office/drawing/2014/main" id="{45339DD8-5E8D-5B6D-40B4-8E6AD26F14F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547808" y="3717515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141" name="Group 1140">
                      <a:extLst>
                        <a:ext uri="{FF2B5EF4-FFF2-40B4-BE49-F238E27FC236}">
                          <a16:creationId xmlns:a16="http://schemas.microsoft.com/office/drawing/2014/main" id="{AE1F573D-CDD3-B0FE-99CB-44FA9842EBE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223690" y="3564531"/>
                      <a:ext cx="66555" cy="67222"/>
                      <a:chOff x="16071153" y="2826710"/>
                      <a:chExt cx="66555" cy="67222"/>
                    </a:xfrm>
                  </p:grpSpPr>
                  <p:cxnSp>
                    <p:nvCxnSpPr>
                      <p:cNvPr id="1142" name="Straight Connector 1141">
                        <a:extLst>
                          <a:ext uri="{FF2B5EF4-FFF2-40B4-BE49-F238E27FC236}">
                            <a16:creationId xmlns:a16="http://schemas.microsoft.com/office/drawing/2014/main" id="{047A842A-12F8-C238-6865-0EB534F8260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6104431" y="2826710"/>
                        <a:ext cx="0" cy="67222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43" name="Straight Connector 1142">
                        <a:extLst>
                          <a:ext uri="{FF2B5EF4-FFF2-40B4-BE49-F238E27FC236}">
                            <a16:creationId xmlns:a16="http://schemas.microsoft.com/office/drawing/2014/main" id="{6DD04F49-731C-45FF-5918-2EB28437E83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H="1">
                        <a:off x="16071153" y="2862722"/>
                        <a:ext cx="66555" cy="0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1144" name="Group 1143">
                      <a:extLst>
                        <a:ext uri="{FF2B5EF4-FFF2-40B4-BE49-F238E27FC236}">
                          <a16:creationId xmlns:a16="http://schemas.microsoft.com/office/drawing/2014/main" id="{39D09E71-A540-B9FE-3839-2E533685A8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050350" y="3082900"/>
                      <a:ext cx="66555" cy="67222"/>
                      <a:chOff x="16071153" y="2826710"/>
                      <a:chExt cx="66555" cy="67222"/>
                    </a:xfrm>
                  </p:grpSpPr>
                  <p:cxnSp>
                    <p:nvCxnSpPr>
                      <p:cNvPr id="1145" name="Straight Connector 1144">
                        <a:extLst>
                          <a:ext uri="{FF2B5EF4-FFF2-40B4-BE49-F238E27FC236}">
                            <a16:creationId xmlns:a16="http://schemas.microsoft.com/office/drawing/2014/main" id="{56F47DFE-0C55-C9DF-6239-9003C102E6A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6104431" y="2826710"/>
                        <a:ext cx="0" cy="67222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46" name="Straight Connector 1145">
                        <a:extLst>
                          <a:ext uri="{FF2B5EF4-FFF2-40B4-BE49-F238E27FC236}">
                            <a16:creationId xmlns:a16="http://schemas.microsoft.com/office/drawing/2014/main" id="{1575D647-E8F9-5347-9CF7-CBD5AFD39300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H="1">
                        <a:off x="16071153" y="2862722"/>
                        <a:ext cx="66555" cy="0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1147" name="Group 1146">
                      <a:extLst>
                        <a:ext uri="{FF2B5EF4-FFF2-40B4-BE49-F238E27FC236}">
                          <a16:creationId xmlns:a16="http://schemas.microsoft.com/office/drawing/2014/main" id="{1718CCB5-DD57-7856-0CFF-48FCAC9A45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991600" y="3082900"/>
                      <a:ext cx="66555" cy="67222"/>
                      <a:chOff x="16071153" y="2826710"/>
                      <a:chExt cx="66555" cy="67222"/>
                    </a:xfrm>
                  </p:grpSpPr>
                  <p:cxnSp>
                    <p:nvCxnSpPr>
                      <p:cNvPr id="1148" name="Straight Connector 1147">
                        <a:extLst>
                          <a:ext uri="{FF2B5EF4-FFF2-40B4-BE49-F238E27FC236}">
                            <a16:creationId xmlns:a16="http://schemas.microsoft.com/office/drawing/2014/main" id="{CB447033-BBE5-4180-390B-432B779820C8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6104431" y="2826710"/>
                        <a:ext cx="0" cy="67222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49" name="Straight Connector 1148">
                        <a:extLst>
                          <a:ext uri="{FF2B5EF4-FFF2-40B4-BE49-F238E27FC236}">
                            <a16:creationId xmlns:a16="http://schemas.microsoft.com/office/drawing/2014/main" id="{237CFC2C-122A-801C-5B2B-C5BF7452EE0C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H="1">
                        <a:off x="16071153" y="2862722"/>
                        <a:ext cx="66555" cy="0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grpSp>
                  <p:nvGrpSpPr>
                    <p:cNvPr id="1150" name="Group 1149">
                      <a:extLst>
                        <a:ext uri="{FF2B5EF4-FFF2-40B4-BE49-F238E27FC236}">
                          <a16:creationId xmlns:a16="http://schemas.microsoft.com/office/drawing/2014/main" id="{F5BA145A-5271-7E34-34E0-F126B7A17A1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932850" y="3082900"/>
                      <a:ext cx="66555" cy="67222"/>
                      <a:chOff x="16071153" y="2826710"/>
                      <a:chExt cx="66555" cy="67222"/>
                    </a:xfrm>
                  </p:grpSpPr>
                  <p:cxnSp>
                    <p:nvCxnSpPr>
                      <p:cNvPr id="1151" name="Straight Connector 1150">
                        <a:extLst>
                          <a:ext uri="{FF2B5EF4-FFF2-40B4-BE49-F238E27FC236}">
                            <a16:creationId xmlns:a16="http://schemas.microsoft.com/office/drawing/2014/main" id="{3CA26150-8220-0A26-D3E8-57B4BA09A3FD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>
                        <a:off x="16104431" y="2826710"/>
                        <a:ext cx="0" cy="67222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152" name="Straight Connector 1151">
                        <a:extLst>
                          <a:ext uri="{FF2B5EF4-FFF2-40B4-BE49-F238E27FC236}">
                            <a16:creationId xmlns:a16="http://schemas.microsoft.com/office/drawing/2014/main" id="{24CE3BF0-327E-1727-6211-0650A4627F9E}"/>
                          </a:ext>
                        </a:extLst>
                      </p:cNvPr>
                      <p:cNvCxnSpPr>
                        <a:cxnSpLocks/>
                      </p:cNvCxnSpPr>
                      <p:nvPr/>
                    </p:nvCxnSpPr>
                    <p:spPr>
                      <a:xfrm flipH="1">
                        <a:off x="16071153" y="2862722"/>
                        <a:ext cx="66555" cy="0"/>
                      </a:xfrm>
                      <a:prstGeom prst="line">
                        <a:avLst/>
                      </a:prstGeom>
                      <a:ln w="19050">
                        <a:solidFill>
                          <a:schemeClr val="accent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  <p:cxnSp>
                  <p:nvCxnSpPr>
                    <p:cNvPr id="1154" name="Straight Connector 1153">
                      <a:extLst>
                        <a:ext uri="{FF2B5EF4-FFF2-40B4-BE49-F238E27FC236}">
                          <a16:creationId xmlns:a16="http://schemas.microsoft.com/office/drawing/2014/main" id="{F0E19291-FE6A-D9D6-F66A-509239E29CEE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820127" y="298517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57" name="Straight Connector 1156">
                      <a:extLst>
                        <a:ext uri="{FF2B5EF4-FFF2-40B4-BE49-F238E27FC236}">
                          <a16:creationId xmlns:a16="http://schemas.microsoft.com/office/drawing/2014/main" id="{04C23FB6-AC44-604F-66D5-D915C9D2FAE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785808" y="298517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59" name="Straight Connector 1158">
                      <a:extLst>
                        <a:ext uri="{FF2B5EF4-FFF2-40B4-BE49-F238E27FC236}">
                          <a16:creationId xmlns:a16="http://schemas.microsoft.com/office/drawing/2014/main" id="{DA35C08F-9370-7535-7B55-60C6DB19534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718211" y="28054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0" name="Straight Connector 1159">
                      <a:extLst>
                        <a:ext uri="{FF2B5EF4-FFF2-40B4-BE49-F238E27FC236}">
                          <a16:creationId xmlns:a16="http://schemas.microsoft.com/office/drawing/2014/main" id="{3B7B9EEB-E11A-741D-A9AD-F65C3A16B33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492520" y="28054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1" name="Straight Connector 1160">
                      <a:extLst>
                        <a:ext uri="{FF2B5EF4-FFF2-40B4-BE49-F238E27FC236}">
                          <a16:creationId xmlns:a16="http://schemas.microsoft.com/office/drawing/2014/main" id="{C5E96648-339C-545F-6458-ABE56C3507B8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437260" y="28054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2" name="Straight Connector 1161">
                      <a:extLst>
                        <a:ext uri="{FF2B5EF4-FFF2-40B4-BE49-F238E27FC236}">
                          <a16:creationId xmlns:a16="http://schemas.microsoft.com/office/drawing/2014/main" id="{0CC80EDC-D9B9-3ABE-7768-78217940858F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413411" y="265304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3" name="Straight Connector 1162">
                      <a:extLst>
                        <a:ext uri="{FF2B5EF4-FFF2-40B4-BE49-F238E27FC236}">
                          <a16:creationId xmlns:a16="http://schemas.microsoft.com/office/drawing/2014/main" id="{51F86CEC-49CA-1909-3AD6-08222E107A7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343610" y="265304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4" name="Straight Connector 1163">
                      <a:extLst>
                        <a:ext uri="{FF2B5EF4-FFF2-40B4-BE49-F238E27FC236}">
                          <a16:creationId xmlns:a16="http://schemas.microsoft.com/office/drawing/2014/main" id="{2C7840DF-F52C-7D20-6865-9588BA56925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156890" y="25768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7" name="Straight Connector 1166">
                      <a:extLst>
                        <a:ext uri="{FF2B5EF4-FFF2-40B4-BE49-F238E27FC236}">
                          <a16:creationId xmlns:a16="http://schemas.microsoft.com/office/drawing/2014/main" id="{BFC833C9-B331-AFA1-BF45-23786F861CFC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123153" y="25768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68" name="Straight Connector 1167">
                      <a:extLst>
                        <a:ext uri="{FF2B5EF4-FFF2-40B4-BE49-F238E27FC236}">
                          <a16:creationId xmlns:a16="http://schemas.microsoft.com/office/drawing/2014/main" id="{AD139699-A3F5-E093-AEBD-5B257F997636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042300" y="2576839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chemeClr val="accent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  <p:grpSp>
              <p:nvGrpSpPr>
                <p:cNvPr id="1173" name="Group 1172">
                  <a:extLst>
                    <a:ext uri="{FF2B5EF4-FFF2-40B4-BE49-F238E27FC236}">
                      <a16:creationId xmlns:a16="http://schemas.microsoft.com/office/drawing/2014/main" id="{CBBC476F-A626-0AE7-56F2-BC8042C4356A}"/>
                    </a:ext>
                  </a:extLst>
                </p:cNvPr>
                <p:cNvGrpSpPr/>
                <p:nvPr/>
              </p:nvGrpSpPr>
              <p:grpSpPr>
                <a:xfrm>
                  <a:off x="7186613" y="2557463"/>
                  <a:ext cx="2414587" cy="2405062"/>
                  <a:chOff x="7186613" y="2557463"/>
                  <a:chExt cx="2414587" cy="2405062"/>
                </a:xfrm>
              </p:grpSpPr>
              <p:sp>
                <p:nvSpPr>
                  <p:cNvPr id="802" name="Freeform 801">
                    <a:extLst>
                      <a:ext uri="{FF2B5EF4-FFF2-40B4-BE49-F238E27FC236}">
                        <a16:creationId xmlns:a16="http://schemas.microsoft.com/office/drawing/2014/main" id="{51133042-0412-DBDB-D4E4-6C3E01B4BE59}"/>
                      </a:ext>
                    </a:extLst>
                  </p:cNvPr>
                  <p:cNvSpPr/>
                  <p:nvPr/>
                </p:nvSpPr>
                <p:spPr>
                  <a:xfrm>
                    <a:off x="7186613" y="2557463"/>
                    <a:ext cx="2414587" cy="2405062"/>
                  </a:xfrm>
                  <a:custGeom>
                    <a:avLst/>
                    <a:gdLst>
                      <a:gd name="connsiteX0" fmla="*/ 2414587 w 2414587"/>
                      <a:gd name="connsiteY0" fmla="*/ 2405062 h 2405062"/>
                      <a:gd name="connsiteX1" fmla="*/ 2414587 w 2414587"/>
                      <a:gd name="connsiteY1" fmla="*/ 2190750 h 2405062"/>
                      <a:gd name="connsiteX2" fmla="*/ 2052637 w 2414587"/>
                      <a:gd name="connsiteY2" fmla="*/ 2190750 h 2405062"/>
                      <a:gd name="connsiteX3" fmla="*/ 2052637 w 2414587"/>
                      <a:gd name="connsiteY3" fmla="*/ 1971675 h 2405062"/>
                      <a:gd name="connsiteX4" fmla="*/ 1519237 w 2414587"/>
                      <a:gd name="connsiteY4" fmla="*/ 1971675 h 2405062"/>
                      <a:gd name="connsiteX5" fmla="*/ 1519237 w 2414587"/>
                      <a:gd name="connsiteY5" fmla="*/ 1747837 h 2405062"/>
                      <a:gd name="connsiteX6" fmla="*/ 1457325 w 2414587"/>
                      <a:gd name="connsiteY6" fmla="*/ 1747837 h 2405062"/>
                      <a:gd name="connsiteX7" fmla="*/ 1457325 w 2414587"/>
                      <a:gd name="connsiteY7" fmla="*/ 1524000 h 2405062"/>
                      <a:gd name="connsiteX8" fmla="*/ 1428750 w 2414587"/>
                      <a:gd name="connsiteY8" fmla="*/ 1524000 h 2405062"/>
                      <a:gd name="connsiteX9" fmla="*/ 1428750 w 2414587"/>
                      <a:gd name="connsiteY9" fmla="*/ 1314450 h 2405062"/>
                      <a:gd name="connsiteX10" fmla="*/ 1319212 w 2414587"/>
                      <a:gd name="connsiteY10" fmla="*/ 1314450 h 2405062"/>
                      <a:gd name="connsiteX11" fmla="*/ 1319212 w 2414587"/>
                      <a:gd name="connsiteY11" fmla="*/ 1090612 h 2405062"/>
                      <a:gd name="connsiteX12" fmla="*/ 1290637 w 2414587"/>
                      <a:gd name="connsiteY12" fmla="*/ 1090612 h 2405062"/>
                      <a:gd name="connsiteX13" fmla="*/ 1290637 w 2414587"/>
                      <a:gd name="connsiteY13" fmla="*/ 895350 h 2405062"/>
                      <a:gd name="connsiteX14" fmla="*/ 995362 w 2414587"/>
                      <a:gd name="connsiteY14" fmla="*/ 895350 h 2405062"/>
                      <a:gd name="connsiteX15" fmla="*/ 995362 w 2414587"/>
                      <a:gd name="connsiteY15" fmla="*/ 704850 h 2405062"/>
                      <a:gd name="connsiteX16" fmla="*/ 942975 w 2414587"/>
                      <a:gd name="connsiteY16" fmla="*/ 704850 h 2405062"/>
                      <a:gd name="connsiteX17" fmla="*/ 942975 w 2414587"/>
                      <a:gd name="connsiteY17" fmla="*/ 519112 h 2405062"/>
                      <a:gd name="connsiteX18" fmla="*/ 519112 w 2414587"/>
                      <a:gd name="connsiteY18" fmla="*/ 519112 h 2405062"/>
                      <a:gd name="connsiteX19" fmla="*/ 519112 w 2414587"/>
                      <a:gd name="connsiteY19" fmla="*/ 338137 h 2405062"/>
                      <a:gd name="connsiteX20" fmla="*/ 438150 w 2414587"/>
                      <a:gd name="connsiteY20" fmla="*/ 338137 h 2405062"/>
                      <a:gd name="connsiteX21" fmla="*/ 438150 w 2414587"/>
                      <a:gd name="connsiteY21" fmla="*/ 185737 h 2405062"/>
                      <a:gd name="connsiteX22" fmla="*/ 180975 w 2414587"/>
                      <a:gd name="connsiteY22" fmla="*/ 185737 h 2405062"/>
                      <a:gd name="connsiteX23" fmla="*/ 180975 w 2414587"/>
                      <a:gd name="connsiteY23" fmla="*/ 0 h 2405062"/>
                      <a:gd name="connsiteX24" fmla="*/ 0 w 2414587"/>
                      <a:gd name="connsiteY24" fmla="*/ 0 h 24050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</a:cxnLst>
                    <a:rect l="l" t="t" r="r" b="b"/>
                    <a:pathLst>
                      <a:path w="2414587" h="2405062">
                        <a:moveTo>
                          <a:pt x="2414587" y="2405062"/>
                        </a:moveTo>
                        <a:lnTo>
                          <a:pt x="2414587" y="2190750"/>
                        </a:lnTo>
                        <a:lnTo>
                          <a:pt x="2052637" y="2190750"/>
                        </a:lnTo>
                        <a:lnTo>
                          <a:pt x="2052637" y="1971675"/>
                        </a:lnTo>
                        <a:lnTo>
                          <a:pt x="1519237" y="1971675"/>
                        </a:lnTo>
                        <a:lnTo>
                          <a:pt x="1519237" y="1747837"/>
                        </a:lnTo>
                        <a:lnTo>
                          <a:pt x="1457325" y="1747837"/>
                        </a:lnTo>
                        <a:lnTo>
                          <a:pt x="1457325" y="1524000"/>
                        </a:lnTo>
                        <a:lnTo>
                          <a:pt x="1428750" y="1524000"/>
                        </a:lnTo>
                        <a:lnTo>
                          <a:pt x="1428750" y="1314450"/>
                        </a:lnTo>
                        <a:lnTo>
                          <a:pt x="1319212" y="1314450"/>
                        </a:lnTo>
                        <a:lnTo>
                          <a:pt x="1319212" y="1090612"/>
                        </a:lnTo>
                        <a:lnTo>
                          <a:pt x="1290637" y="1090612"/>
                        </a:lnTo>
                        <a:lnTo>
                          <a:pt x="1290637" y="895350"/>
                        </a:lnTo>
                        <a:lnTo>
                          <a:pt x="995362" y="895350"/>
                        </a:lnTo>
                        <a:lnTo>
                          <a:pt x="995362" y="704850"/>
                        </a:lnTo>
                        <a:lnTo>
                          <a:pt x="942975" y="704850"/>
                        </a:lnTo>
                        <a:lnTo>
                          <a:pt x="942975" y="519112"/>
                        </a:lnTo>
                        <a:lnTo>
                          <a:pt x="519112" y="519112"/>
                        </a:lnTo>
                        <a:lnTo>
                          <a:pt x="519112" y="338137"/>
                        </a:lnTo>
                        <a:lnTo>
                          <a:pt x="438150" y="338137"/>
                        </a:lnTo>
                        <a:lnTo>
                          <a:pt x="438150" y="185737"/>
                        </a:lnTo>
                        <a:lnTo>
                          <a:pt x="180975" y="185737"/>
                        </a:lnTo>
                        <a:lnTo>
                          <a:pt x="180975" y="0"/>
                        </a:lnTo>
                        <a:lnTo>
                          <a:pt x="0" y="0"/>
                        </a:lnTo>
                      </a:path>
                    </a:pathLst>
                  </a:custGeom>
                  <a:noFill/>
                  <a:ln w="25400">
                    <a:solidFill>
                      <a:schemeClr val="bg2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cxnSp>
                <p:nvCxnSpPr>
                  <p:cNvPr id="1171" name="Straight Connector 1170">
                    <a:extLst>
                      <a:ext uri="{FF2B5EF4-FFF2-40B4-BE49-F238E27FC236}">
                        <a16:creationId xmlns:a16="http://schemas.microsoft.com/office/drawing/2014/main" id="{554A6A3D-0EDB-3118-0D65-C2FAA057873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8083018" y="3036366"/>
                    <a:ext cx="0" cy="67222"/>
                  </a:xfrm>
                  <a:prstGeom prst="line">
                    <a:avLst/>
                  </a:prstGeom>
                  <a:ln w="19050">
                    <a:solidFill>
                      <a:schemeClr val="bg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83" name="Group 1182">
                  <a:extLst>
                    <a:ext uri="{FF2B5EF4-FFF2-40B4-BE49-F238E27FC236}">
                      <a16:creationId xmlns:a16="http://schemas.microsoft.com/office/drawing/2014/main" id="{A919CD8B-22CA-11B7-A907-3AD15BB8822F}"/>
                    </a:ext>
                  </a:extLst>
                </p:cNvPr>
                <p:cNvGrpSpPr/>
                <p:nvPr/>
              </p:nvGrpSpPr>
              <p:grpSpPr>
                <a:xfrm>
                  <a:off x="7178963" y="2584450"/>
                  <a:ext cx="2625435" cy="2381249"/>
                  <a:chOff x="7178963" y="2584450"/>
                  <a:chExt cx="2625435" cy="2381249"/>
                </a:xfrm>
              </p:grpSpPr>
              <p:sp>
                <p:nvSpPr>
                  <p:cNvPr id="804" name="Freeform 803">
                    <a:extLst>
                      <a:ext uri="{FF2B5EF4-FFF2-40B4-BE49-F238E27FC236}">
                        <a16:creationId xmlns:a16="http://schemas.microsoft.com/office/drawing/2014/main" id="{4C15989C-A70E-792C-79F8-560807E2368F}"/>
                      </a:ext>
                    </a:extLst>
                  </p:cNvPr>
                  <p:cNvSpPr/>
                  <p:nvPr/>
                </p:nvSpPr>
                <p:spPr>
                  <a:xfrm rot="5400000">
                    <a:off x="7301056" y="2462357"/>
                    <a:ext cx="2381249" cy="2625435"/>
                  </a:xfrm>
                  <a:custGeom>
                    <a:avLst/>
                    <a:gdLst>
                      <a:gd name="connsiteX0" fmla="*/ 0 w 6712085"/>
                      <a:gd name="connsiteY0" fmla="*/ 7405991 h 7405991"/>
                      <a:gd name="connsiteX1" fmla="*/ 0 w 6712085"/>
                      <a:gd name="connsiteY1" fmla="*/ 7405991 h 7405991"/>
                      <a:gd name="connsiteX2" fmla="*/ 0 w 6712085"/>
                      <a:gd name="connsiteY2" fmla="*/ 7211438 h 7405991"/>
                      <a:gd name="connsiteX3" fmla="*/ 188068 w 6712085"/>
                      <a:gd name="connsiteY3" fmla="*/ 7211438 h 7405991"/>
                      <a:gd name="connsiteX4" fmla="*/ 188068 w 6712085"/>
                      <a:gd name="connsiteY4" fmla="*/ 7140102 h 7405991"/>
                      <a:gd name="connsiteX5" fmla="*/ 408562 w 6712085"/>
                      <a:gd name="connsiteY5" fmla="*/ 7140102 h 7405991"/>
                      <a:gd name="connsiteX6" fmla="*/ 408562 w 6712085"/>
                      <a:gd name="connsiteY6" fmla="*/ 7140102 h 7405991"/>
                      <a:gd name="connsiteX7" fmla="*/ 460443 w 6712085"/>
                      <a:gd name="connsiteY7" fmla="*/ 7088221 h 7405991"/>
                      <a:gd name="connsiteX8" fmla="*/ 570689 w 6712085"/>
                      <a:gd name="connsiteY8" fmla="*/ 7088221 h 7405991"/>
                      <a:gd name="connsiteX9" fmla="*/ 570689 w 6712085"/>
                      <a:gd name="connsiteY9" fmla="*/ 7023370 h 7405991"/>
                      <a:gd name="connsiteX10" fmla="*/ 700391 w 6712085"/>
                      <a:gd name="connsiteY10" fmla="*/ 7023370 h 7405991"/>
                      <a:gd name="connsiteX11" fmla="*/ 771728 w 6712085"/>
                      <a:gd name="connsiteY11" fmla="*/ 6977974 h 7405991"/>
                      <a:gd name="connsiteX12" fmla="*/ 1018162 w 6712085"/>
                      <a:gd name="connsiteY12" fmla="*/ 6977974 h 7405991"/>
                      <a:gd name="connsiteX13" fmla="*/ 1057072 w 6712085"/>
                      <a:gd name="connsiteY13" fmla="*/ 6939064 h 7405991"/>
                      <a:gd name="connsiteX14" fmla="*/ 1141379 w 6712085"/>
                      <a:gd name="connsiteY14" fmla="*/ 6939064 h 7405991"/>
                      <a:gd name="connsiteX15" fmla="*/ 1219200 w 6712085"/>
                      <a:gd name="connsiteY15" fmla="*/ 6893668 h 7405991"/>
                      <a:gd name="connsiteX16" fmla="*/ 1219200 w 6712085"/>
                      <a:gd name="connsiteY16" fmla="*/ 6770451 h 7405991"/>
                      <a:gd name="connsiteX17" fmla="*/ 1361872 w 6712085"/>
                      <a:gd name="connsiteY17" fmla="*/ 6770451 h 7405991"/>
                      <a:gd name="connsiteX18" fmla="*/ 1361872 w 6712085"/>
                      <a:gd name="connsiteY18" fmla="*/ 6712085 h 7405991"/>
                      <a:gd name="connsiteX19" fmla="*/ 1517515 w 6712085"/>
                      <a:gd name="connsiteY19" fmla="*/ 6712085 h 7405991"/>
                      <a:gd name="connsiteX20" fmla="*/ 1517515 w 6712085"/>
                      <a:gd name="connsiteY20" fmla="*/ 6712085 h 7405991"/>
                      <a:gd name="connsiteX21" fmla="*/ 1517515 w 6712085"/>
                      <a:gd name="connsiteY21" fmla="*/ 6673174 h 7405991"/>
                      <a:gd name="connsiteX22" fmla="*/ 1627762 w 6712085"/>
                      <a:gd name="connsiteY22" fmla="*/ 6679659 h 7405991"/>
                      <a:gd name="connsiteX23" fmla="*/ 1627762 w 6712085"/>
                      <a:gd name="connsiteY23" fmla="*/ 6640749 h 7405991"/>
                      <a:gd name="connsiteX24" fmla="*/ 1776919 w 6712085"/>
                      <a:gd name="connsiteY24" fmla="*/ 6640749 h 7405991"/>
                      <a:gd name="connsiteX25" fmla="*/ 1776919 w 6712085"/>
                      <a:gd name="connsiteY25" fmla="*/ 6640749 h 7405991"/>
                      <a:gd name="connsiteX26" fmla="*/ 1776919 w 6712085"/>
                      <a:gd name="connsiteY26" fmla="*/ 6640749 h 7405991"/>
                      <a:gd name="connsiteX27" fmla="*/ 1770434 w 6712085"/>
                      <a:gd name="connsiteY27" fmla="*/ 6588868 h 7405991"/>
                      <a:gd name="connsiteX28" fmla="*/ 1926077 w 6712085"/>
                      <a:gd name="connsiteY28" fmla="*/ 6588868 h 7405991"/>
                      <a:gd name="connsiteX29" fmla="*/ 1926077 w 6712085"/>
                      <a:gd name="connsiteY29" fmla="*/ 6588868 h 7405991"/>
                      <a:gd name="connsiteX30" fmla="*/ 2003898 w 6712085"/>
                      <a:gd name="connsiteY30" fmla="*/ 6582383 h 7405991"/>
                      <a:gd name="connsiteX31" fmla="*/ 2003898 w 6712085"/>
                      <a:gd name="connsiteY31" fmla="*/ 6413770 h 7405991"/>
                      <a:gd name="connsiteX32" fmla="*/ 2120630 w 6712085"/>
                      <a:gd name="connsiteY32" fmla="*/ 6413770 h 7405991"/>
                      <a:gd name="connsiteX33" fmla="*/ 2120630 w 6712085"/>
                      <a:gd name="connsiteY33" fmla="*/ 6290553 h 7405991"/>
                      <a:gd name="connsiteX34" fmla="*/ 2380034 w 6712085"/>
                      <a:gd name="connsiteY34" fmla="*/ 6290553 h 7405991"/>
                      <a:gd name="connsiteX35" fmla="*/ 2380034 w 6712085"/>
                      <a:gd name="connsiteY35" fmla="*/ 6290553 h 7405991"/>
                      <a:gd name="connsiteX36" fmla="*/ 2600528 w 6712085"/>
                      <a:gd name="connsiteY36" fmla="*/ 6297038 h 7405991"/>
                      <a:gd name="connsiteX37" fmla="*/ 2600528 w 6712085"/>
                      <a:gd name="connsiteY37" fmla="*/ 6232187 h 7405991"/>
                      <a:gd name="connsiteX38" fmla="*/ 2697804 w 6712085"/>
                      <a:gd name="connsiteY38" fmla="*/ 6232187 h 7405991"/>
                      <a:gd name="connsiteX39" fmla="*/ 2697804 w 6712085"/>
                      <a:gd name="connsiteY39" fmla="*/ 6083030 h 7405991"/>
                      <a:gd name="connsiteX40" fmla="*/ 2795081 w 6712085"/>
                      <a:gd name="connsiteY40" fmla="*/ 6083030 h 7405991"/>
                      <a:gd name="connsiteX41" fmla="*/ 2795081 w 6712085"/>
                      <a:gd name="connsiteY41" fmla="*/ 6011693 h 7405991"/>
                      <a:gd name="connsiteX42" fmla="*/ 2898843 w 6712085"/>
                      <a:gd name="connsiteY42" fmla="*/ 6011693 h 7405991"/>
                      <a:gd name="connsiteX43" fmla="*/ 2898843 w 6712085"/>
                      <a:gd name="connsiteY43" fmla="*/ 6011693 h 7405991"/>
                      <a:gd name="connsiteX44" fmla="*/ 3119336 w 6712085"/>
                      <a:gd name="connsiteY44" fmla="*/ 5953328 h 7405991"/>
                      <a:gd name="connsiteX45" fmla="*/ 3197157 w 6712085"/>
                      <a:gd name="connsiteY45" fmla="*/ 5894962 h 7405991"/>
                      <a:gd name="connsiteX46" fmla="*/ 3320374 w 6712085"/>
                      <a:gd name="connsiteY46" fmla="*/ 5849566 h 7405991"/>
                      <a:gd name="connsiteX47" fmla="*/ 3476017 w 6712085"/>
                      <a:gd name="connsiteY47" fmla="*/ 5849566 h 7405991"/>
                      <a:gd name="connsiteX48" fmla="*/ 3586264 w 6712085"/>
                      <a:gd name="connsiteY48" fmla="*/ 5823625 h 7405991"/>
                      <a:gd name="connsiteX49" fmla="*/ 3586264 w 6712085"/>
                      <a:gd name="connsiteY49" fmla="*/ 5687438 h 7405991"/>
                      <a:gd name="connsiteX50" fmla="*/ 3670570 w 6712085"/>
                      <a:gd name="connsiteY50" fmla="*/ 5687438 h 7405991"/>
                      <a:gd name="connsiteX51" fmla="*/ 3670570 w 6712085"/>
                      <a:gd name="connsiteY51" fmla="*/ 5622587 h 7405991"/>
                      <a:gd name="connsiteX52" fmla="*/ 3793787 w 6712085"/>
                      <a:gd name="connsiteY52" fmla="*/ 5622587 h 7405991"/>
                      <a:gd name="connsiteX53" fmla="*/ 3793787 w 6712085"/>
                      <a:gd name="connsiteY53" fmla="*/ 5551251 h 7405991"/>
                      <a:gd name="connsiteX54" fmla="*/ 3981855 w 6712085"/>
                      <a:gd name="connsiteY54" fmla="*/ 5551251 h 7405991"/>
                      <a:gd name="connsiteX55" fmla="*/ 3981855 w 6712085"/>
                      <a:gd name="connsiteY55" fmla="*/ 5428034 h 7405991"/>
                      <a:gd name="connsiteX56" fmla="*/ 4079132 w 6712085"/>
                      <a:gd name="connsiteY56" fmla="*/ 5428034 h 7405991"/>
                      <a:gd name="connsiteX57" fmla="*/ 4079132 w 6712085"/>
                      <a:gd name="connsiteY57" fmla="*/ 5103779 h 7405991"/>
                      <a:gd name="connsiteX58" fmla="*/ 4156953 w 6712085"/>
                      <a:gd name="connsiteY58" fmla="*/ 5103779 h 7405991"/>
                      <a:gd name="connsiteX59" fmla="*/ 4156953 w 6712085"/>
                      <a:gd name="connsiteY59" fmla="*/ 5019472 h 7405991"/>
                      <a:gd name="connsiteX60" fmla="*/ 4280170 w 6712085"/>
                      <a:gd name="connsiteY60" fmla="*/ 5019472 h 7405991"/>
                      <a:gd name="connsiteX61" fmla="*/ 4280170 w 6712085"/>
                      <a:gd name="connsiteY61" fmla="*/ 4760068 h 7405991"/>
                      <a:gd name="connsiteX62" fmla="*/ 4377447 w 6712085"/>
                      <a:gd name="connsiteY62" fmla="*/ 4760068 h 7405991"/>
                      <a:gd name="connsiteX63" fmla="*/ 4377447 w 6712085"/>
                      <a:gd name="connsiteY63" fmla="*/ 4695217 h 7405991"/>
                      <a:gd name="connsiteX64" fmla="*/ 4559030 w 6712085"/>
                      <a:gd name="connsiteY64" fmla="*/ 4695217 h 7405991"/>
                      <a:gd name="connsiteX65" fmla="*/ 4559030 w 6712085"/>
                      <a:gd name="connsiteY65" fmla="*/ 4182893 h 7405991"/>
                      <a:gd name="connsiteX66" fmla="*/ 4708187 w 6712085"/>
                      <a:gd name="connsiteY66" fmla="*/ 4182893 h 7405991"/>
                      <a:gd name="connsiteX67" fmla="*/ 4708187 w 6712085"/>
                      <a:gd name="connsiteY67" fmla="*/ 4085617 h 7405991"/>
                      <a:gd name="connsiteX68" fmla="*/ 4818434 w 6712085"/>
                      <a:gd name="connsiteY68" fmla="*/ 4085617 h 7405991"/>
                      <a:gd name="connsiteX69" fmla="*/ 4818434 w 6712085"/>
                      <a:gd name="connsiteY69" fmla="*/ 3981855 h 7405991"/>
                      <a:gd name="connsiteX70" fmla="*/ 5032443 w 6712085"/>
                      <a:gd name="connsiteY70" fmla="*/ 3981855 h 7405991"/>
                      <a:gd name="connsiteX71" fmla="*/ 5032443 w 6712085"/>
                      <a:gd name="connsiteY71" fmla="*/ 3819728 h 7405991"/>
                      <a:gd name="connsiteX72" fmla="*/ 5278877 w 6712085"/>
                      <a:gd name="connsiteY72" fmla="*/ 3819728 h 7405991"/>
                      <a:gd name="connsiteX73" fmla="*/ 5278877 w 6712085"/>
                      <a:gd name="connsiteY73" fmla="*/ 3754876 h 7405991"/>
                      <a:gd name="connsiteX74" fmla="*/ 5421549 w 6712085"/>
                      <a:gd name="connsiteY74" fmla="*/ 3754876 h 7405991"/>
                      <a:gd name="connsiteX75" fmla="*/ 5421549 w 6712085"/>
                      <a:gd name="connsiteY75" fmla="*/ 3618689 h 7405991"/>
                      <a:gd name="connsiteX76" fmla="*/ 5544766 w 6712085"/>
                      <a:gd name="connsiteY76" fmla="*/ 3618689 h 7405991"/>
                      <a:gd name="connsiteX77" fmla="*/ 5544766 w 6712085"/>
                      <a:gd name="connsiteY77" fmla="*/ 3534383 h 7405991"/>
                      <a:gd name="connsiteX78" fmla="*/ 5655013 w 6712085"/>
                      <a:gd name="connsiteY78" fmla="*/ 3534383 h 7405991"/>
                      <a:gd name="connsiteX79" fmla="*/ 5655013 w 6712085"/>
                      <a:gd name="connsiteY79" fmla="*/ 2457855 h 7405991"/>
                      <a:gd name="connsiteX80" fmla="*/ 5817140 w 6712085"/>
                      <a:gd name="connsiteY80" fmla="*/ 2457855 h 7405991"/>
                      <a:gd name="connsiteX81" fmla="*/ 5817140 w 6712085"/>
                      <a:gd name="connsiteY81" fmla="*/ 2198451 h 7405991"/>
                      <a:gd name="connsiteX82" fmla="*/ 5979268 w 6712085"/>
                      <a:gd name="connsiteY82" fmla="*/ 2198451 h 7405991"/>
                      <a:gd name="connsiteX83" fmla="*/ 5979268 w 6712085"/>
                      <a:gd name="connsiteY83" fmla="*/ 2049293 h 7405991"/>
                      <a:gd name="connsiteX84" fmla="*/ 6115455 w 6712085"/>
                      <a:gd name="connsiteY84" fmla="*/ 2049293 h 7405991"/>
                      <a:gd name="connsiteX85" fmla="*/ 6115455 w 6712085"/>
                      <a:gd name="connsiteY85" fmla="*/ 1562911 h 7405991"/>
                      <a:gd name="connsiteX86" fmla="*/ 6258128 w 6712085"/>
                      <a:gd name="connsiteY86" fmla="*/ 1562911 h 7405991"/>
                      <a:gd name="connsiteX87" fmla="*/ 6258128 w 6712085"/>
                      <a:gd name="connsiteY87" fmla="*/ 408562 h 7405991"/>
                      <a:gd name="connsiteX88" fmla="*/ 6485106 w 6712085"/>
                      <a:gd name="connsiteY88" fmla="*/ 408562 h 7405991"/>
                      <a:gd name="connsiteX89" fmla="*/ 6485106 w 6712085"/>
                      <a:gd name="connsiteY89" fmla="*/ 0 h 7405991"/>
                      <a:gd name="connsiteX90" fmla="*/ 6712085 w 6712085"/>
                      <a:gd name="connsiteY90" fmla="*/ 0 h 74059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</a:cxnLst>
                    <a:rect l="l" t="t" r="r" b="b"/>
                    <a:pathLst>
                      <a:path w="6712085" h="7405991">
                        <a:moveTo>
                          <a:pt x="0" y="7405991"/>
                        </a:moveTo>
                        <a:lnTo>
                          <a:pt x="0" y="7405991"/>
                        </a:lnTo>
                        <a:lnTo>
                          <a:pt x="0" y="7211438"/>
                        </a:lnTo>
                        <a:lnTo>
                          <a:pt x="188068" y="7211438"/>
                        </a:lnTo>
                        <a:lnTo>
                          <a:pt x="188068" y="7140102"/>
                        </a:lnTo>
                        <a:lnTo>
                          <a:pt x="408562" y="7140102"/>
                        </a:lnTo>
                        <a:lnTo>
                          <a:pt x="408562" y="7140102"/>
                        </a:lnTo>
                        <a:lnTo>
                          <a:pt x="460443" y="7088221"/>
                        </a:lnTo>
                        <a:lnTo>
                          <a:pt x="570689" y="7088221"/>
                        </a:lnTo>
                        <a:lnTo>
                          <a:pt x="570689" y="7023370"/>
                        </a:lnTo>
                        <a:lnTo>
                          <a:pt x="700391" y="7023370"/>
                        </a:lnTo>
                        <a:lnTo>
                          <a:pt x="771728" y="6977974"/>
                        </a:lnTo>
                        <a:lnTo>
                          <a:pt x="1018162" y="6977974"/>
                        </a:lnTo>
                        <a:lnTo>
                          <a:pt x="1057072" y="6939064"/>
                        </a:lnTo>
                        <a:lnTo>
                          <a:pt x="1141379" y="6939064"/>
                        </a:lnTo>
                        <a:lnTo>
                          <a:pt x="1219200" y="6893668"/>
                        </a:lnTo>
                        <a:lnTo>
                          <a:pt x="1219200" y="6770451"/>
                        </a:lnTo>
                        <a:lnTo>
                          <a:pt x="1361872" y="6770451"/>
                        </a:lnTo>
                        <a:lnTo>
                          <a:pt x="1361872" y="6712085"/>
                        </a:lnTo>
                        <a:lnTo>
                          <a:pt x="1517515" y="6712085"/>
                        </a:lnTo>
                        <a:lnTo>
                          <a:pt x="1517515" y="6712085"/>
                        </a:lnTo>
                        <a:lnTo>
                          <a:pt x="1517515" y="6673174"/>
                        </a:lnTo>
                        <a:lnTo>
                          <a:pt x="1627762" y="6679659"/>
                        </a:lnTo>
                        <a:lnTo>
                          <a:pt x="1627762" y="6640749"/>
                        </a:lnTo>
                        <a:lnTo>
                          <a:pt x="1776919" y="6640749"/>
                        </a:lnTo>
                        <a:lnTo>
                          <a:pt x="1776919" y="6640749"/>
                        </a:lnTo>
                        <a:lnTo>
                          <a:pt x="1776919" y="6640749"/>
                        </a:lnTo>
                        <a:lnTo>
                          <a:pt x="1770434" y="6588868"/>
                        </a:lnTo>
                        <a:lnTo>
                          <a:pt x="1926077" y="6588868"/>
                        </a:lnTo>
                        <a:lnTo>
                          <a:pt x="1926077" y="6588868"/>
                        </a:lnTo>
                        <a:lnTo>
                          <a:pt x="2003898" y="6582383"/>
                        </a:lnTo>
                        <a:lnTo>
                          <a:pt x="2003898" y="6413770"/>
                        </a:lnTo>
                        <a:lnTo>
                          <a:pt x="2120630" y="6413770"/>
                        </a:lnTo>
                        <a:lnTo>
                          <a:pt x="2120630" y="6290553"/>
                        </a:lnTo>
                        <a:lnTo>
                          <a:pt x="2380034" y="6290553"/>
                        </a:lnTo>
                        <a:lnTo>
                          <a:pt x="2380034" y="6290553"/>
                        </a:lnTo>
                        <a:lnTo>
                          <a:pt x="2600528" y="6297038"/>
                        </a:lnTo>
                        <a:lnTo>
                          <a:pt x="2600528" y="6232187"/>
                        </a:lnTo>
                        <a:lnTo>
                          <a:pt x="2697804" y="6232187"/>
                        </a:lnTo>
                        <a:lnTo>
                          <a:pt x="2697804" y="6083030"/>
                        </a:lnTo>
                        <a:lnTo>
                          <a:pt x="2795081" y="6083030"/>
                        </a:lnTo>
                        <a:lnTo>
                          <a:pt x="2795081" y="6011693"/>
                        </a:lnTo>
                        <a:lnTo>
                          <a:pt x="2898843" y="6011693"/>
                        </a:lnTo>
                        <a:lnTo>
                          <a:pt x="2898843" y="6011693"/>
                        </a:lnTo>
                        <a:lnTo>
                          <a:pt x="3119336" y="5953328"/>
                        </a:lnTo>
                        <a:lnTo>
                          <a:pt x="3197157" y="5894962"/>
                        </a:lnTo>
                        <a:lnTo>
                          <a:pt x="3320374" y="5849566"/>
                        </a:lnTo>
                        <a:lnTo>
                          <a:pt x="3476017" y="5849566"/>
                        </a:lnTo>
                        <a:lnTo>
                          <a:pt x="3586264" y="5823625"/>
                        </a:lnTo>
                        <a:lnTo>
                          <a:pt x="3586264" y="5687438"/>
                        </a:lnTo>
                        <a:lnTo>
                          <a:pt x="3670570" y="5687438"/>
                        </a:lnTo>
                        <a:lnTo>
                          <a:pt x="3670570" y="5622587"/>
                        </a:lnTo>
                        <a:lnTo>
                          <a:pt x="3793787" y="5622587"/>
                        </a:lnTo>
                        <a:lnTo>
                          <a:pt x="3793787" y="5551251"/>
                        </a:lnTo>
                        <a:lnTo>
                          <a:pt x="3981855" y="5551251"/>
                        </a:lnTo>
                        <a:lnTo>
                          <a:pt x="3981855" y="5428034"/>
                        </a:lnTo>
                        <a:lnTo>
                          <a:pt x="4079132" y="5428034"/>
                        </a:lnTo>
                        <a:lnTo>
                          <a:pt x="4079132" y="5103779"/>
                        </a:lnTo>
                        <a:lnTo>
                          <a:pt x="4156953" y="5103779"/>
                        </a:lnTo>
                        <a:lnTo>
                          <a:pt x="4156953" y="5019472"/>
                        </a:lnTo>
                        <a:lnTo>
                          <a:pt x="4280170" y="5019472"/>
                        </a:lnTo>
                        <a:lnTo>
                          <a:pt x="4280170" y="4760068"/>
                        </a:lnTo>
                        <a:lnTo>
                          <a:pt x="4377447" y="4760068"/>
                        </a:lnTo>
                        <a:lnTo>
                          <a:pt x="4377447" y="4695217"/>
                        </a:lnTo>
                        <a:lnTo>
                          <a:pt x="4559030" y="4695217"/>
                        </a:lnTo>
                        <a:lnTo>
                          <a:pt x="4559030" y="4182893"/>
                        </a:lnTo>
                        <a:lnTo>
                          <a:pt x="4708187" y="4182893"/>
                        </a:lnTo>
                        <a:lnTo>
                          <a:pt x="4708187" y="4085617"/>
                        </a:lnTo>
                        <a:lnTo>
                          <a:pt x="4818434" y="4085617"/>
                        </a:lnTo>
                        <a:lnTo>
                          <a:pt x="4818434" y="3981855"/>
                        </a:lnTo>
                        <a:lnTo>
                          <a:pt x="5032443" y="3981855"/>
                        </a:lnTo>
                        <a:lnTo>
                          <a:pt x="5032443" y="3819728"/>
                        </a:lnTo>
                        <a:lnTo>
                          <a:pt x="5278877" y="3819728"/>
                        </a:lnTo>
                        <a:lnTo>
                          <a:pt x="5278877" y="3754876"/>
                        </a:lnTo>
                        <a:lnTo>
                          <a:pt x="5421549" y="3754876"/>
                        </a:lnTo>
                        <a:lnTo>
                          <a:pt x="5421549" y="3618689"/>
                        </a:lnTo>
                        <a:lnTo>
                          <a:pt x="5544766" y="3618689"/>
                        </a:lnTo>
                        <a:lnTo>
                          <a:pt x="5544766" y="3534383"/>
                        </a:lnTo>
                        <a:lnTo>
                          <a:pt x="5655013" y="3534383"/>
                        </a:lnTo>
                        <a:lnTo>
                          <a:pt x="5655013" y="2457855"/>
                        </a:lnTo>
                        <a:lnTo>
                          <a:pt x="5817140" y="2457855"/>
                        </a:lnTo>
                        <a:lnTo>
                          <a:pt x="5817140" y="2198451"/>
                        </a:lnTo>
                        <a:lnTo>
                          <a:pt x="5979268" y="2198451"/>
                        </a:lnTo>
                        <a:lnTo>
                          <a:pt x="5979268" y="2049293"/>
                        </a:lnTo>
                        <a:lnTo>
                          <a:pt x="6115455" y="2049293"/>
                        </a:lnTo>
                        <a:lnTo>
                          <a:pt x="6115455" y="1562911"/>
                        </a:lnTo>
                        <a:lnTo>
                          <a:pt x="6258128" y="1562911"/>
                        </a:lnTo>
                        <a:lnTo>
                          <a:pt x="6258128" y="408562"/>
                        </a:lnTo>
                        <a:lnTo>
                          <a:pt x="6485106" y="408562"/>
                        </a:lnTo>
                        <a:lnTo>
                          <a:pt x="6485106" y="0"/>
                        </a:lnTo>
                        <a:lnTo>
                          <a:pt x="6712085" y="0"/>
                        </a:lnTo>
                      </a:path>
                    </a:pathLst>
                  </a:custGeom>
                  <a:noFill/>
                  <a:ln w="25400">
                    <a:solidFill>
                      <a:srgbClr val="7F7F7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0" marR="0" lvl="0" indent="0" algn="ctr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1176" name="Group 1175">
                    <a:extLst>
                      <a:ext uri="{FF2B5EF4-FFF2-40B4-BE49-F238E27FC236}">
                        <a16:creationId xmlns:a16="http://schemas.microsoft.com/office/drawing/2014/main" id="{5031DE73-6B8B-490F-8A10-71B15BDBEC46}"/>
                      </a:ext>
                    </a:extLst>
                  </p:cNvPr>
                  <p:cNvGrpSpPr/>
                  <p:nvPr/>
                </p:nvGrpSpPr>
                <p:grpSpPr>
                  <a:xfrm>
                    <a:off x="7493195" y="3252750"/>
                    <a:ext cx="1899182" cy="1580753"/>
                    <a:chOff x="7493195" y="3252750"/>
                    <a:chExt cx="1899182" cy="1580753"/>
                  </a:xfrm>
                </p:grpSpPr>
                <p:cxnSp>
                  <p:nvCxnSpPr>
                    <p:cNvPr id="1174" name="Straight Connector 1173">
                      <a:extLst>
                        <a:ext uri="{FF2B5EF4-FFF2-40B4-BE49-F238E27FC236}">
                          <a16:creationId xmlns:a16="http://schemas.microsoft.com/office/drawing/2014/main" id="{9A5DA075-83B8-16A6-A69C-42EFF9F6C5F5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493195" y="325275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75" name="Straight Connector 1174">
                      <a:extLst>
                        <a:ext uri="{FF2B5EF4-FFF2-40B4-BE49-F238E27FC236}">
                          <a16:creationId xmlns:a16="http://schemas.microsoft.com/office/drawing/2014/main" id="{79322467-711C-B1A5-6CB3-456C5F49B47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7987040" y="398683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77" name="Straight Connector 1176">
                      <a:extLst>
                        <a:ext uri="{FF2B5EF4-FFF2-40B4-BE49-F238E27FC236}">
                          <a16:creationId xmlns:a16="http://schemas.microsoft.com/office/drawing/2014/main" id="{30CE93E5-0D65-EDAD-90DA-75602E28CF3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261011" y="4163661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78" name="Straight Connector 1177">
                      <a:extLst>
                        <a:ext uri="{FF2B5EF4-FFF2-40B4-BE49-F238E27FC236}">
                          <a16:creationId xmlns:a16="http://schemas.microsoft.com/office/drawing/2014/main" id="{B9941956-D469-B9D1-BDE2-91247F152051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288350" y="4163661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79" name="Straight Connector 1178">
                      <a:extLst>
                        <a:ext uri="{FF2B5EF4-FFF2-40B4-BE49-F238E27FC236}">
                          <a16:creationId xmlns:a16="http://schemas.microsoft.com/office/drawing/2014/main" id="{09D02CAA-B93C-43AB-E2B7-C02D75E9D52D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388980" y="424626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80" name="Straight Connector 1179">
                      <a:extLst>
                        <a:ext uri="{FF2B5EF4-FFF2-40B4-BE49-F238E27FC236}">
                          <a16:creationId xmlns:a16="http://schemas.microsoft.com/office/drawing/2014/main" id="{594326DC-8796-9B4E-DB43-3B36C56766F4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475068" y="4416110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81" name="Straight Connector 1180">
                      <a:extLst>
                        <a:ext uri="{FF2B5EF4-FFF2-40B4-BE49-F238E27FC236}">
                          <a16:creationId xmlns:a16="http://schemas.microsoft.com/office/drawing/2014/main" id="{CC6144EF-12A5-FDD4-2D26-34E1CAEBD720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8655389" y="4555131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1182" name="Straight Connector 1181">
                      <a:extLst>
                        <a:ext uri="{FF2B5EF4-FFF2-40B4-BE49-F238E27FC236}">
                          <a16:creationId xmlns:a16="http://schemas.microsoft.com/office/drawing/2014/main" id="{85524CFF-ABEB-2AF2-124A-C4E967764C07}"/>
                        </a:ext>
                      </a:extLst>
                    </p:cNvPr>
                    <p:cNvCxnSpPr>
                      <a:cxnSpLocks/>
                    </p:cNvCxnSpPr>
                    <p:nvPr/>
                  </p:nvCxnSpPr>
                  <p:spPr>
                    <a:xfrm>
                      <a:off x="9392377" y="4766281"/>
                      <a:ext cx="0" cy="67222"/>
                    </a:xfrm>
                    <a:prstGeom prst="line">
                      <a:avLst/>
                    </a:prstGeom>
                    <a:ln w="19050">
                      <a:solidFill>
                        <a:srgbClr val="7F7F7F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  <p:sp>
          <p:nvSpPr>
            <p:cNvPr id="4" name="Rectangle 51">
              <a:extLst>
                <a:ext uri="{FF2B5EF4-FFF2-40B4-BE49-F238E27FC236}">
                  <a16:creationId xmlns:a16="http://schemas.microsoft.com/office/drawing/2014/main" id="{92FEF6C7-CC62-52FA-C372-9FF586DE35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1043" y="5636763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5" name="Rectangle 51">
              <a:extLst>
                <a:ext uri="{FF2B5EF4-FFF2-40B4-BE49-F238E27FC236}">
                  <a16:creationId xmlns:a16="http://schemas.microsoft.com/office/drawing/2014/main" id="{ED87A8C1-037C-9237-1C19-C884E49F85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87362" y="5636418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6" name="Rectangle 51">
              <a:extLst>
                <a:ext uri="{FF2B5EF4-FFF2-40B4-BE49-F238E27FC236}">
                  <a16:creationId xmlns:a16="http://schemas.microsoft.com/office/drawing/2014/main" id="{5019F54C-9B2E-BA9E-829F-6C0C6D8BBE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2669" y="5638852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7" name="Rectangle 51">
              <a:extLst>
                <a:ext uri="{FF2B5EF4-FFF2-40B4-BE49-F238E27FC236}">
                  <a16:creationId xmlns:a16="http://schemas.microsoft.com/office/drawing/2014/main" id="{B2AB48D4-5E2E-7F23-C854-3B2F729AD4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49377" y="5640001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8" name="Rectangle 51">
              <a:extLst>
                <a:ext uri="{FF2B5EF4-FFF2-40B4-BE49-F238E27FC236}">
                  <a16:creationId xmlns:a16="http://schemas.microsoft.com/office/drawing/2014/main" id="{A0CFA0EA-0154-DA00-F8A1-AA0FD62979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23698" y="5636418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9" name="Rectangle 51">
              <a:extLst>
                <a:ext uri="{FF2B5EF4-FFF2-40B4-BE49-F238E27FC236}">
                  <a16:creationId xmlns:a16="http://schemas.microsoft.com/office/drawing/2014/main" id="{68D5464D-E4E9-7754-C160-D6A0CD04E5F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19776" y="5640002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1" name="Rectangle 51">
              <a:extLst>
                <a:ext uri="{FF2B5EF4-FFF2-40B4-BE49-F238E27FC236}">
                  <a16:creationId xmlns:a16="http://schemas.microsoft.com/office/drawing/2014/main" id="{C135CAA1-9580-EFC2-B3F5-66031DF7F9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75217" y="5640001"/>
              <a:ext cx="57708" cy="123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2" name="Rectangle 51">
              <a:extLst>
                <a:ext uri="{FF2B5EF4-FFF2-40B4-BE49-F238E27FC236}">
                  <a16:creationId xmlns:a16="http://schemas.microsoft.com/office/drawing/2014/main" id="{3DCD5201-FC24-0B24-1DA5-BC3DF76AD0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94184" y="5776618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3" name="Rectangle 51">
              <a:extLst>
                <a:ext uri="{FF2B5EF4-FFF2-40B4-BE49-F238E27FC236}">
                  <a16:creationId xmlns:a16="http://schemas.microsoft.com/office/drawing/2014/main" id="{2FB47DC8-D498-75AD-D6B8-2A8FC9C10B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7929" y="5776618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4" name="Rectangle 51">
              <a:extLst>
                <a:ext uri="{FF2B5EF4-FFF2-40B4-BE49-F238E27FC236}">
                  <a16:creationId xmlns:a16="http://schemas.microsoft.com/office/drawing/2014/main" id="{7707C527-451C-F54D-4A41-36C917682E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860675" y="5776618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5" name="Rectangle 51">
              <a:extLst>
                <a:ext uri="{FF2B5EF4-FFF2-40B4-BE49-F238E27FC236}">
                  <a16:creationId xmlns:a16="http://schemas.microsoft.com/office/drawing/2014/main" id="{34D4ABAC-EB0D-8050-0035-36EA3D0F9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134054" y="5776618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6" name="Rectangle 51">
              <a:extLst>
                <a:ext uri="{FF2B5EF4-FFF2-40B4-BE49-F238E27FC236}">
                  <a16:creationId xmlns:a16="http://schemas.microsoft.com/office/drawing/2014/main" id="{B992DD8A-81D8-4AD6-574C-1666CB8613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34870" y="5777668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7" name="Rectangle 51">
              <a:extLst>
                <a:ext uri="{FF2B5EF4-FFF2-40B4-BE49-F238E27FC236}">
                  <a16:creationId xmlns:a16="http://schemas.microsoft.com/office/drawing/2014/main" id="{944345DC-0E84-E37A-FD48-F6F90D2F2E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682039" y="5776617"/>
              <a:ext cx="44063" cy="940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0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081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1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16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520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224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19928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6320" algn="l" defTabSz="914081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457109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>
                      <a:lumMod val="65000"/>
                      <a:lumOff val="3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</a:t>
              </a:r>
            </a:p>
          </p:txBody>
        </p:sp>
      </p:grpSp>
      <p:sp>
        <p:nvSpPr>
          <p:cNvPr id="314" name="TextBox 313">
            <a:extLst>
              <a:ext uri="{FF2B5EF4-FFF2-40B4-BE49-F238E27FC236}">
                <a16:creationId xmlns:a16="http://schemas.microsoft.com/office/drawing/2014/main" id="{0DB7DAC9-1C2F-45CB-B044-B8670189A801}"/>
              </a:ext>
            </a:extLst>
          </p:cNvPr>
          <p:cNvSpPr txBox="1"/>
          <p:nvPr/>
        </p:nvSpPr>
        <p:spPr>
          <a:xfrm>
            <a:off x="4207173" y="1991124"/>
            <a:ext cx="19268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OS = 11.6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315" name="TextBox 314">
            <a:extLst>
              <a:ext uri="{FF2B5EF4-FFF2-40B4-BE49-F238E27FC236}">
                <a16:creationId xmlns:a16="http://schemas.microsoft.com/office/drawing/2014/main" id="{92680CA5-DDF2-43D7-9720-E1A2BE60017A}"/>
              </a:ext>
            </a:extLst>
          </p:cNvPr>
          <p:cNvSpPr txBox="1"/>
          <p:nvPr/>
        </p:nvSpPr>
        <p:spPr>
          <a:xfrm>
            <a:off x="10162981" y="2002345"/>
            <a:ext cx="2437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n OS = 9 </a:t>
            </a:r>
            <a:r>
              <a:rPr kumimoji="0" lang="en-US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sp>
        <p:nvSpPr>
          <p:cNvPr id="316" name="TextBox 315">
            <a:extLst>
              <a:ext uri="{FF2B5EF4-FFF2-40B4-BE49-F238E27FC236}">
                <a16:creationId xmlns:a16="http://schemas.microsoft.com/office/drawing/2014/main" id="{FC4D1266-A8E7-47D7-AF10-DE8866D45D52}"/>
              </a:ext>
            </a:extLst>
          </p:cNvPr>
          <p:cNvSpPr txBox="1"/>
          <p:nvPr/>
        </p:nvSpPr>
        <p:spPr>
          <a:xfrm>
            <a:off x="9769019" y="3491529"/>
            <a:ext cx="114315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9140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4D8D7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8.8 months</a:t>
            </a:r>
            <a:br>
              <a:rPr kumimoji="0" lang="en-US" sz="1000" b="1" i="0" u="none" strike="noStrike" kern="1200" cap="none" spc="-50" normalizeH="0" baseline="0" noProof="0" dirty="0">
                <a:ln>
                  <a:noFill/>
                </a:ln>
                <a:solidFill>
                  <a:srgbClr val="4D8D7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000" b="0" i="0" u="none" strike="noStrike" kern="1200" cap="none" spc="-50" normalizeH="0" baseline="0" noProof="0" dirty="0">
                <a:ln>
                  <a:noFill/>
                </a:ln>
                <a:solidFill>
                  <a:srgbClr val="4D8D75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S</a:t>
            </a:r>
          </a:p>
        </p:txBody>
      </p:sp>
    </p:spTree>
    <p:extLst>
      <p:ext uri="{BB962C8B-B14F-4D97-AF65-F5344CB8AC3E}">
        <p14:creationId xmlns:p14="http://schemas.microsoft.com/office/powerpoint/2010/main" val="86202416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BB1E0CA-A49E-4645-AC94-B8A0A244C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BB1E0CA-A49E-4645-AC94-B8A0A244C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7A32915E-95B1-4097-BA7F-55F5406461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  <a:sym typeface="Tw Cen MT" panose="020B0602020104020603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31D3E0-AF21-43F5-8D35-727C823757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0"/>
            <a:ext cx="11108266" cy="963561"/>
          </a:xfrm>
        </p:spPr>
        <p:txBody>
          <a:bodyPr/>
          <a:lstStyle/>
          <a:p>
            <a:pPr algn="ctr"/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</a:t>
            </a:r>
            <a:r>
              <a:rPr lang="en-US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vosidenib</a:t>
            </a:r>
            <a:r>
              <a:rPr lang="en-US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ata in R/R AML  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8985DA1-52C1-49F9-BCE2-7A46A119A661}"/>
              </a:ext>
            </a:extLst>
          </p:cNvPr>
          <p:cNvGraphicFramePr>
            <a:graphicFrameLocks noGrp="1"/>
          </p:cNvGraphicFramePr>
          <p:nvPr/>
        </p:nvGraphicFramePr>
        <p:xfrm>
          <a:off x="571500" y="2057400"/>
          <a:ext cx="11239501" cy="28257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17415">
                  <a:extLst>
                    <a:ext uri="{9D8B030D-6E8A-4147-A177-3AD203B41FA5}">
                      <a16:colId xmlns:a16="http://schemas.microsoft.com/office/drawing/2014/main" val="3326741560"/>
                    </a:ext>
                  </a:extLst>
                </a:gridCol>
                <a:gridCol w="2811043">
                  <a:extLst>
                    <a:ext uri="{9D8B030D-6E8A-4147-A177-3AD203B41FA5}">
                      <a16:colId xmlns:a16="http://schemas.microsoft.com/office/drawing/2014/main" val="2439611278"/>
                    </a:ext>
                  </a:extLst>
                </a:gridCol>
                <a:gridCol w="2811043">
                  <a:extLst>
                    <a:ext uri="{9D8B030D-6E8A-4147-A177-3AD203B41FA5}">
                      <a16:colId xmlns:a16="http://schemas.microsoft.com/office/drawing/2014/main" val="1569096955"/>
                    </a:ext>
                  </a:extLst>
                </a:gridCol>
              </a:tblGrid>
              <a:tr h="329443">
                <a:tc>
                  <a:txBody>
                    <a:bodyPr/>
                    <a:lstStyle/>
                    <a:p>
                      <a:r>
                        <a:rPr lang="en-US" sz="14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AMETERS</a:t>
                      </a:r>
                    </a:p>
                  </a:txBody>
                  <a:tcPr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E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UTASIDENIB</a:t>
                      </a:r>
                      <a:r>
                        <a:rPr lang="en-US" sz="1400" b="0" u="none" baseline="300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E6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u="none" cap="all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voSIDENIB</a:t>
                      </a:r>
                      <a:r>
                        <a:rPr lang="en-US" sz="1400" b="0" u="none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6028577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osite complete remission </a:t>
                      </a:r>
                      <a:r>
                        <a:rPr lang="en-US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R + </a:t>
                      </a:r>
                      <a:r>
                        <a:rPr lang="en-US" sz="1400" b="0" i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%</a:t>
                      </a:r>
                      <a:endParaRPr kumimoji="0" lang="en-US" sz="14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%</a:t>
                      </a:r>
                      <a:endParaRPr kumimoji="0" lang="en-US" sz="14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3681532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CR/</a:t>
                      </a:r>
                      <a:r>
                        <a:rPr lang="en-US" sz="1400" b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95% CI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.9 months (13.5, NR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.2 months (5.6, 12)</a:t>
                      </a:r>
                      <a:endParaRPr kumimoji="0" lang="en-US" sz="14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09799320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plete remission rate (CR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8580283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CR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.1 months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.1 months</a:t>
                      </a:r>
                      <a:endParaRPr kumimoji="0" lang="en-US" sz="140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7805100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verall response rate </a:t>
                      </a:r>
                      <a:r>
                        <a:rPr lang="en-US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CR + </a:t>
                      </a:r>
                      <a:r>
                        <a:rPr lang="en-US" sz="1400" b="0" i="1" dirty="0" err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Rh</a:t>
                      </a:r>
                      <a:r>
                        <a:rPr lang="en-US" sz="1400" b="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 CRi + PR + MLFS)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%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0536579"/>
                  </a:ext>
                </a:extLst>
              </a:tr>
              <a:tr h="41604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an duration of overall response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7 months</a:t>
                      </a: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5 months</a:t>
                      </a:r>
                      <a:endParaRPr kumimoji="0" lang="en-US" sz="1400" b="0" i="1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8729430"/>
                  </a:ext>
                </a:extLst>
              </a:tr>
            </a:tbl>
          </a:graphicData>
        </a:graphic>
      </p:graphicFrame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0D722A58-ABFC-90C2-490D-16A7EF13A24E}"/>
              </a:ext>
            </a:extLst>
          </p:cNvPr>
          <p:cNvSpPr txBox="1">
            <a:spLocks/>
          </p:cNvSpPr>
          <p:nvPr/>
        </p:nvSpPr>
        <p:spPr>
          <a:xfrm>
            <a:off x="486074" y="5732207"/>
            <a:ext cx="11324925" cy="963560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1. d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ott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3;bloodadvances.2022009411. 2. Tibsovo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Servi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Pharmaceuticals LLC. 3. DiNardo CD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N </a:t>
            </a:r>
            <a:r>
              <a:rPr kumimoji="0" lang="en-US" sz="800" b="0" i="1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Engl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J Med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18;378:2386-2398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6A9153-EC82-80FE-EEB7-F33CF452E900}"/>
              </a:ext>
            </a:extLst>
          </p:cNvPr>
          <p:cNvSpPr/>
          <p:nvPr/>
        </p:nvSpPr>
        <p:spPr>
          <a:xfrm>
            <a:off x="571500" y="1390650"/>
            <a:ext cx="11239499" cy="361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NOTE: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is is a summary of data from independent trials, not a head-to-head comparison within a single study.</a:t>
            </a:r>
          </a:p>
        </p:txBody>
      </p:sp>
    </p:spTree>
    <p:extLst>
      <p:ext uri="{BB962C8B-B14F-4D97-AF65-F5344CB8AC3E}">
        <p14:creationId xmlns:p14="http://schemas.microsoft.com/office/powerpoint/2010/main" val="92604386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C33BDC5-A903-4CF0-BFEA-DB8AE2FD7F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31" imgH="232" progId="TCLayout.ActiveDocument.1">
                  <p:embed/>
                </p:oleObj>
              </mc:Choice>
              <mc:Fallback>
                <p:oleObj name="think-cell Slide" r:id="rId5" imgW="231" imgH="23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C33BDC5-A903-4CF0-BFEA-DB8AE2FD7F01}"/>
                          </a:ext>
                        </a:extLst>
                      </p:cNvPr>
                      <p:cNvPicPr/>
                      <p:nvPr/>
                    </p:nvPicPr>
                    <p:blipFill>
                      <a:blip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68" hidden="1">
            <a:extLst>
              <a:ext uri="{FF2B5EF4-FFF2-40B4-BE49-F238E27FC236}">
                <a16:creationId xmlns:a16="http://schemas.microsoft.com/office/drawing/2014/main" id="{93BBED42-A3D1-4EB6-8396-0410B112A88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w Cen MT" panose="020B0602020104020603" pitchFamily="34" charset="0"/>
              <a:ea typeface="+mn-ea"/>
              <a:cs typeface="+mn-cs"/>
              <a:sym typeface="Tw Cen MT" panose="020B0602020104020603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64A816-64F9-47D5-84FA-ADEE97ECD8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8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lutasidenib</a:t>
            </a:r>
            <a:r>
              <a:rPr lang="en-US" sz="28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nd Ivosidenib Baseline Demographics and Disease Characteristics in Approval R/R AML Study Populations</a:t>
            </a:r>
          </a:p>
        </p:txBody>
      </p:sp>
      <p:graphicFrame>
        <p:nvGraphicFramePr>
          <p:cNvPr id="15" name="Content Placeholder 4">
            <a:extLst>
              <a:ext uri="{FF2B5EF4-FFF2-40B4-BE49-F238E27FC236}">
                <a16:creationId xmlns:a16="http://schemas.microsoft.com/office/drawing/2014/main" id="{628D5596-3F09-9A83-93E9-8E160EA7F0EA}"/>
              </a:ext>
            </a:extLst>
          </p:cNvPr>
          <p:cNvGraphicFramePr>
            <a:graphicFrameLocks/>
          </p:cNvGraphicFramePr>
          <p:nvPr/>
        </p:nvGraphicFramePr>
        <p:xfrm>
          <a:off x="594359" y="1390651"/>
          <a:ext cx="5155087" cy="425795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2272542">
                  <a:extLst>
                    <a:ext uri="{9D8B030D-6E8A-4147-A177-3AD203B41FA5}">
                      <a16:colId xmlns:a16="http://schemas.microsoft.com/office/drawing/2014/main" val="1789870060"/>
                    </a:ext>
                  </a:extLst>
                </a:gridCol>
                <a:gridCol w="1410824">
                  <a:extLst>
                    <a:ext uri="{9D8B030D-6E8A-4147-A177-3AD203B41FA5}">
                      <a16:colId xmlns:a16="http://schemas.microsoft.com/office/drawing/2014/main" val="1353212450"/>
                    </a:ext>
                  </a:extLst>
                </a:gridCol>
                <a:gridCol w="1471721">
                  <a:extLst>
                    <a:ext uri="{9D8B030D-6E8A-4147-A177-3AD203B41FA5}">
                      <a16:colId xmlns:a16="http://schemas.microsoft.com/office/drawing/2014/main" val="435544013"/>
                    </a:ext>
                  </a:extLst>
                </a:gridCol>
              </a:tblGrid>
              <a:tr h="623679">
                <a:tc>
                  <a:txBody>
                    <a:bodyPr/>
                    <a:lstStyle/>
                    <a:p>
                      <a:pPr algn="l"/>
                      <a:endParaRPr lang="en-US" sz="1300" b="0" dirty="0">
                        <a:solidFill>
                          <a:schemeClr val="bg1"/>
                        </a:solidFill>
                      </a:endParaRP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chemeClr val="bg1"/>
                          </a:solidFill>
                        </a:rPr>
                        <a:t>OLUTASIDENIB</a:t>
                      </a:r>
                      <a:endParaRPr lang="en-US" sz="1300" b="0" baseline="30000" dirty="0"/>
                    </a:p>
                    <a:p>
                      <a:pPr algn="ctr"/>
                      <a:r>
                        <a:rPr lang="en-US" sz="1300" b="0" dirty="0">
                          <a:solidFill>
                            <a:schemeClr val="bg1"/>
                          </a:solidFill>
                        </a:rPr>
                        <a:t>N=147</a:t>
                      </a: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cap="all" baseline="0" dirty="0">
                          <a:solidFill>
                            <a:schemeClr val="tx1"/>
                          </a:solidFill>
                        </a:rPr>
                        <a:t>IVOSIDENIB</a:t>
                      </a:r>
                      <a:endParaRPr lang="en-US" sz="1300" b="0" baseline="30000" dirty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en-US" sz="1300" b="0" dirty="0">
                          <a:solidFill>
                            <a:schemeClr val="tx1"/>
                          </a:solidFill>
                        </a:rPr>
                        <a:t>N=174</a:t>
                      </a:r>
                    </a:p>
                  </a:txBody>
                  <a:tcPr marL="100584" marR="100584" marT="41564" marB="41564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5185044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/>
                        <a:t>Age, median (range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</a:rPr>
                        <a:t>71 (32-87)</a:t>
                      </a:r>
                      <a:endParaRPr lang="en-US" sz="1300" b="0" dirty="0">
                        <a:highlight>
                          <a:srgbClr val="FFFF00"/>
                        </a:highlight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highlight>
                            <a:srgbClr val="FFFF00"/>
                          </a:highlight>
                        </a:rPr>
                        <a:t>67 (18-8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5614700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/>
                        <a:t>Cytogenetic risk, n (%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/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1667910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/>
                        <a:t>    </a:t>
                      </a:r>
                      <a:r>
                        <a:rPr lang="en-US" sz="1300" b="0" dirty="0"/>
                        <a:t>Favorable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6 (4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/>
                        <a:t>–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2950645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/>
                        <a:t>    </a:t>
                      </a:r>
                      <a:r>
                        <a:rPr lang="en-US" sz="1300" b="0" dirty="0"/>
                        <a:t>Intermediate</a:t>
                      </a:r>
                      <a:endParaRPr lang="en-US" sz="1300" b="1" dirty="0"/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107 (73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/>
                        <a:t>104 (60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84689355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/>
                        <a:t>    </a:t>
                      </a:r>
                      <a:r>
                        <a:rPr lang="en-US" sz="1300" b="0" dirty="0"/>
                        <a:t>Poor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25 (17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</a:rPr>
                        <a:t>47 (27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63594638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0" dirty="0"/>
                        <a:t>    Missing/unknown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</a:rPr>
                        <a:t>9 (6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/>
                        <a:t>23 (13)</a:t>
                      </a:r>
                    </a:p>
                  </a:txBody>
                  <a:tcPr marL="100584" marR="100584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4573196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kern="1200" dirty="0" err="1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utations</a:t>
                      </a:r>
                      <a:r>
                        <a:rPr lang="en-US" sz="13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n (%)*</a:t>
                      </a:r>
                      <a:endParaRPr lang="en-US" sz="1300" baseline="30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30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3226123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NPM1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 (21)</a:t>
                      </a:r>
                      <a:endParaRPr lang="en-US" sz="13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 (26)</a:t>
                      </a:r>
                      <a:endParaRPr lang="en-US" sz="13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853031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r>
                        <a:rPr lang="en-US" sz="13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FLT3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 (10)</a:t>
                      </a:r>
                      <a:endParaRPr lang="en-US" sz="13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 (7)</a:t>
                      </a:r>
                      <a:endParaRPr lang="en-US" sz="13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00584" marR="100584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4780438"/>
                  </a:ext>
                </a:extLst>
              </a:tr>
              <a:tr h="363428">
                <a:tc>
                  <a:txBody>
                    <a:bodyPr/>
                    <a:lstStyle/>
                    <a:p>
                      <a:r>
                        <a:rPr lang="en-US" sz="13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TP53</a:t>
                      </a:r>
                    </a:p>
                  </a:txBody>
                  <a:tcPr marL="100584" marR="0" marT="41564" marB="41564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highlight>
                            <a:srgbClr val="FFFF00"/>
                          </a:highlight>
                        </a:rPr>
                        <a:t>9 (6)</a:t>
                      </a:r>
                      <a:endParaRPr lang="en-US" sz="1300" baseline="30000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</a:endParaRPr>
                    </a:p>
                  </a:txBody>
                  <a:tcPr marL="110836" marR="110836" marT="45800" marB="4580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 (13)</a:t>
                      </a:r>
                      <a:endParaRPr lang="en-US" sz="1300" b="1" dirty="0">
                        <a:solidFill>
                          <a:schemeClr val="tx1"/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10836" marR="110836" marT="45800" marB="4580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6926066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79E45B3-F754-47EB-B85D-B27FBF01C3EB}"/>
              </a:ext>
            </a:extLst>
          </p:cNvPr>
          <p:cNvGraphicFramePr>
            <a:graphicFrameLocks noGrp="1"/>
          </p:cNvGraphicFramePr>
          <p:nvPr/>
        </p:nvGraphicFramePr>
        <p:xfrm>
          <a:off x="6010073" y="1390650"/>
          <a:ext cx="5800927" cy="4255239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3203642">
                  <a:extLst>
                    <a:ext uri="{9D8B030D-6E8A-4147-A177-3AD203B41FA5}">
                      <a16:colId xmlns:a16="http://schemas.microsoft.com/office/drawing/2014/main" val="1612429882"/>
                    </a:ext>
                  </a:extLst>
                </a:gridCol>
                <a:gridCol w="1274323">
                  <a:extLst>
                    <a:ext uri="{9D8B030D-6E8A-4147-A177-3AD203B41FA5}">
                      <a16:colId xmlns:a16="http://schemas.microsoft.com/office/drawing/2014/main" val="2335848259"/>
                    </a:ext>
                  </a:extLst>
                </a:gridCol>
                <a:gridCol w="1322962">
                  <a:extLst>
                    <a:ext uri="{9D8B030D-6E8A-4147-A177-3AD203B41FA5}">
                      <a16:colId xmlns:a16="http://schemas.microsoft.com/office/drawing/2014/main" val="3574142198"/>
                    </a:ext>
                  </a:extLst>
                </a:gridCol>
              </a:tblGrid>
              <a:tr h="618903">
                <a:tc>
                  <a:txBody>
                    <a:bodyPr/>
                    <a:lstStyle/>
                    <a:p>
                      <a:pPr algn="l"/>
                      <a:endParaRPr lang="en-US" sz="13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21920" marR="121920" anchor="b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dirty="0">
                          <a:solidFill>
                            <a:schemeClr val="bg1"/>
                          </a:solidFill>
                          <a:latin typeface="+mn-lt"/>
                        </a:rPr>
                        <a:t>OLUTASIDENIB</a:t>
                      </a:r>
                      <a:endParaRPr lang="en-US" sz="1300" b="0" baseline="30000" dirty="0">
                        <a:latin typeface="+mn-lt"/>
                      </a:endParaRPr>
                    </a:p>
                    <a:p>
                      <a:pPr algn="ctr"/>
                      <a:r>
                        <a:rPr lang="en-US" sz="1300" b="0" dirty="0">
                          <a:solidFill>
                            <a:schemeClr val="bg1"/>
                          </a:solidFill>
                          <a:latin typeface="+mn-lt"/>
                        </a:rPr>
                        <a:t>N=147</a:t>
                      </a:r>
                    </a:p>
                  </a:txBody>
                  <a:tcPr marL="0" marR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0" cap="all" baseline="0" dirty="0">
                          <a:solidFill>
                            <a:schemeClr val="tx1"/>
                          </a:solidFill>
                          <a:latin typeface="+mn-lt"/>
                        </a:rPr>
                        <a:t>IVOSIDENIB</a:t>
                      </a:r>
                      <a:endParaRPr lang="en-US" sz="1300" b="0" baseline="3000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300" b="0" dirty="0">
                          <a:solidFill>
                            <a:schemeClr val="tx1"/>
                          </a:solidFill>
                          <a:latin typeface="+mn-lt"/>
                        </a:rPr>
                        <a:t>N=174</a:t>
                      </a:r>
                    </a:p>
                  </a:txBody>
                  <a:tcPr marL="0" marR="0" anchor="b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7E0D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114078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latin typeface="+mn-lt"/>
                        </a:rPr>
                        <a:t>Prior AML therapy outcome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5454466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    Primary refractory</a:t>
                      </a:r>
                      <a:endParaRPr lang="en-US" sz="1300" b="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46 (31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64 (3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009337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algn="l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3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    Untreated relapse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81 (55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65 (3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7756964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    Refractory relapse</a:t>
                      </a:r>
                      <a:endParaRPr lang="en-US" sz="1300" b="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/>
                          <a:ea typeface="+mn-ea"/>
                          <a:cs typeface="+mn-cs"/>
                        </a:rPr>
                        <a:t>20 (14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  <a:latin typeface="+mn-lt"/>
                        </a:rPr>
                        <a:t>45 (26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74447421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300" b="1" dirty="0">
                          <a:latin typeface="+mn-lt"/>
                        </a:rPr>
                        <a:t>Prior regimens, median (range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2 (1-7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2 (1-6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742663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Venetoclax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  <a:latin typeface="+mn-lt"/>
                        </a:rPr>
                        <a:t>12 (8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0881315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lvl="0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    HSCT, n (%)</a:t>
                      </a:r>
                      <a:endParaRPr lang="en-US" sz="1300" b="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  <a:latin typeface="+mn-lt"/>
                        </a:rPr>
                        <a:t>17 (12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highlight>
                            <a:srgbClr val="FFFF00"/>
                          </a:highlight>
                          <a:latin typeface="+mn-lt"/>
                        </a:rPr>
                        <a:t>40 (23)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6238451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dirty="0">
                          <a:latin typeface="+mn-lt"/>
                        </a:rPr>
                        <a:t>ECOG PS, n (%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endParaRPr lang="en-US" sz="1300" dirty="0">
                        <a:latin typeface="+mn-lt"/>
                      </a:endParaRP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881300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0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45 (3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36 (2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435741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1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76 (52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>
                          <a:latin typeface="+mn-lt"/>
                        </a:rPr>
                        <a:t>97 (56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981566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2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+mn-lt"/>
                        </a:rPr>
                        <a:t>23 (16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>
                          <a:latin typeface="+mn-lt"/>
                        </a:rPr>
                        <a:t>39 (22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900642"/>
                  </a:ext>
                </a:extLst>
              </a:tr>
              <a:tr h="303028">
                <a:tc>
                  <a:txBody>
                    <a:bodyPr/>
                    <a:lstStyle/>
                    <a:p>
                      <a:pPr marL="0" indent="0">
                        <a:lnSpc>
                          <a:spcPct val="90000"/>
                        </a:lnSpc>
                      </a:pPr>
                      <a:r>
                        <a:rPr lang="en-US" sz="1300" b="0" dirty="0">
                          <a:latin typeface="+mn-lt"/>
                        </a:rPr>
                        <a:t>    3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0 (0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300" dirty="0">
                          <a:latin typeface="+mn-lt"/>
                        </a:rPr>
                        <a:t>2 (1)</a:t>
                      </a:r>
                    </a:p>
                  </a:txBody>
                  <a:tcPr marL="121920" marR="121920" marT="0" marB="0" anchor="ctr">
                    <a:lnL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5E6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5612086"/>
                  </a:ext>
                </a:extLst>
              </a:tr>
            </a:tbl>
          </a:graphicData>
        </a:graphic>
      </p:graphicFrame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02CAF46-DEC1-2DE4-871E-C03B743224AA}"/>
              </a:ext>
            </a:extLst>
          </p:cNvPr>
          <p:cNvSpPr txBox="1">
            <a:spLocks/>
          </p:cNvSpPr>
          <p:nvPr/>
        </p:nvSpPr>
        <p:spPr>
          <a:xfrm>
            <a:off x="486073" y="5751871"/>
            <a:ext cx="11324927" cy="94389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0" rIns="9144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ECOG, Eastern Cooperative Oncology Group; PS, performance statu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For ivosidenib,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mutati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analysis based on Choe et al. (2020), which had a baseline of 167 samples (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denominator=167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de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otton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3;bloodadvances.2022009411. 2. 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REZLIDHIA</a:t>
            </a:r>
            <a:r>
              <a:rPr kumimoji="0" lang="en-US" alt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TM</a:t>
            </a:r>
            <a:r>
              <a:rPr kumimoji="0" lang="en-US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Rigel Pharmaceuticals, Inc. 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ea typeface="Geneva"/>
                <a:cs typeface="Arial" charset="0"/>
              </a:rPr>
              <a:t>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Tibsovo</a:t>
            </a: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®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. Prescribing information.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Servie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 Pharmaceuticals LLC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4. Choe S, et al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Blood Adv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57585A"/>
                </a:solidFill>
                <a:effectLst/>
                <a:uLnTx/>
                <a:uFillTx/>
                <a:latin typeface="Arial" charset="0"/>
                <a:cs typeface="Arial" charset="0"/>
              </a:rPr>
              <a:t>2020;4(9):1894-1905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57585A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5012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742081D-5C78-5A4F-BD81-CB88D65C6E56}"/>
              </a:ext>
            </a:extLst>
          </p:cNvPr>
          <p:cNvGraphicFramePr>
            <a:graphicFrameLocks noGrp="1"/>
          </p:cNvGraphicFramePr>
          <p:nvPr/>
        </p:nvGraphicFramePr>
        <p:xfrm>
          <a:off x="301052" y="1404065"/>
          <a:ext cx="4356024" cy="4002821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2369078">
                  <a:extLst>
                    <a:ext uri="{9D8B030D-6E8A-4147-A177-3AD203B41FA5}">
                      <a16:colId xmlns:a16="http://schemas.microsoft.com/office/drawing/2014/main" val="2635520168"/>
                    </a:ext>
                  </a:extLst>
                </a:gridCol>
                <a:gridCol w="1986946">
                  <a:extLst>
                    <a:ext uri="{9D8B030D-6E8A-4147-A177-3AD203B41FA5}">
                      <a16:colId xmlns:a16="http://schemas.microsoft.com/office/drawing/2014/main" val="2267365287"/>
                    </a:ext>
                  </a:extLst>
                </a:gridCol>
              </a:tblGrid>
              <a:tr h="230932">
                <a:tc gridSpan="2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ost-</a:t>
                      </a:r>
                      <a:r>
                        <a:rPr lang="en-GB" sz="1600" b="1" dirty="0" err="1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venetoclax</a:t>
                      </a:r>
                      <a:r>
                        <a:rPr lang="en-GB" sz="1600" b="1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patients (N=17)</a:t>
                      </a:r>
                      <a:endParaRPr lang="en-VI" sz="1600" b="1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VI" sz="3300" b="1" dirty="0">
                        <a:effectLst/>
                        <a:latin typeface="+mn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432207714"/>
                  </a:ext>
                </a:extLst>
              </a:tr>
              <a:tr h="692796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Study Treatment:   </a:t>
                      </a: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   Monotherapy*</a:t>
                      </a:r>
                    </a:p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   Combination therapy**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b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5 (88)</a:t>
                      </a:r>
                      <a:b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2 (12)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629520220"/>
                  </a:ext>
                </a:extLst>
              </a:tr>
              <a:tr h="23093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Median age (range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 73 years (65-83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257325792"/>
                  </a:ext>
                </a:extLst>
              </a:tr>
              <a:tr h="461864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AML type, n (%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261938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rimary 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/ </a:t>
                      </a: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Secondary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7 (41)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/ </a:t>
                      </a: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0 (59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53625693"/>
                  </a:ext>
                </a:extLst>
              </a:tr>
              <a:tr h="115466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Cytogenetics, n (%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358775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Favorable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358775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Intermediate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358775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oor 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358775" indent="0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Unknown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744538" indent="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GB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1033463" indent="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 (6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1033463" indent="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9 (53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1033463" indent="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6 (35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  <a:p>
                      <a:pPr marL="1033463" indent="0" algn="l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 (6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169385355"/>
                  </a:ext>
                </a:extLst>
              </a:tr>
              <a:tr h="23093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Median # of prior </a:t>
                      </a:r>
                      <a:r>
                        <a:rPr lang="en-US" sz="1600" dirty="0" err="1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txmt</a:t>
                      </a:r>
                      <a:r>
                        <a:rPr lang="en-GB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2.0 (range 1-6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24321832"/>
                  </a:ext>
                </a:extLst>
              </a:tr>
              <a:tr h="230932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rior HMA, n (%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3 (76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299008230"/>
                  </a:ext>
                </a:extLst>
              </a:tr>
              <a:tr h="25659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Prior </a:t>
                      </a:r>
                      <a:r>
                        <a:rPr lang="en-US" sz="1600" dirty="0" err="1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venetoclax</a:t>
                      </a: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(VEN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7 (100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897979264"/>
                  </a:ext>
                </a:extLst>
              </a:tr>
              <a:tr h="25659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   Induction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15 (88%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480704528"/>
                  </a:ext>
                </a:extLst>
              </a:tr>
              <a:tr h="256591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    Maintenance or Salvage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dirty="0">
                          <a:effectLst/>
                          <a:latin typeface="Calibri" panose="020F0502020204030204" pitchFamily="34" charset="0"/>
                          <a:ea typeface="Tahoma" panose="020B0604030504040204" pitchFamily="34" charset="0"/>
                          <a:cs typeface="Calibri" panose="020F0502020204030204" pitchFamily="34" charset="0"/>
                        </a:rPr>
                        <a:t>2 (12%)</a:t>
                      </a:r>
                      <a:endParaRPr lang="en-VI" sz="1600" dirty="0">
                        <a:effectLst/>
                        <a:latin typeface="Calibri" panose="020F0502020204030204" pitchFamily="34" charset="0"/>
                        <a:ea typeface="Tahoma" panose="020B060403050404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205784420"/>
                  </a:ext>
                </a:extLst>
              </a:tr>
            </a:tbl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2C656EA8-9A3C-124B-A7A4-4EA824EBEC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32" y="289600"/>
            <a:ext cx="11468735" cy="914387"/>
          </a:xfrm>
        </p:spPr>
        <p:txBody>
          <a:bodyPr/>
          <a:lstStyle/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Oluta for R/R post-VEN AM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D091CF2-FCF8-8B47-B8A7-3F40F535B03C}"/>
              </a:ext>
            </a:extLst>
          </p:cNvPr>
          <p:cNvSpPr txBox="1"/>
          <p:nvPr/>
        </p:nvSpPr>
        <p:spPr>
          <a:xfrm>
            <a:off x="206451" y="5780558"/>
            <a:ext cx="850522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12 from Pivotal Cohort and 3 from other monotherapy cohorts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*Combination of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lutasidenib+Azacitidin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6426CAA-B440-44C8-AD8D-15B5CE2A3169}"/>
              </a:ext>
            </a:extLst>
          </p:cNvPr>
          <p:cNvGrpSpPr/>
          <p:nvPr/>
        </p:nvGrpSpPr>
        <p:grpSpPr>
          <a:xfrm>
            <a:off x="4991100" y="1866191"/>
            <a:ext cx="6994449" cy="4240405"/>
            <a:chOff x="1335024" y="1981397"/>
            <a:chExt cx="7991856" cy="4240405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4D2D209-2596-4B4A-99C3-5C1B663E80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35024" y="1981397"/>
              <a:ext cx="7991856" cy="424040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85AF1D4-2F08-414E-AF62-A67D4B0D81E3}"/>
                </a:ext>
              </a:extLst>
            </p:cNvPr>
            <p:cNvSpPr txBox="1"/>
            <p:nvPr/>
          </p:nvSpPr>
          <p:spPr>
            <a:xfrm>
              <a:off x="7692637" y="2141161"/>
              <a:ext cx="12083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169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30.4+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A32A3BE-464F-481B-879B-74F48E028692}"/>
                </a:ext>
              </a:extLst>
            </p:cNvPr>
            <p:cNvSpPr txBox="1"/>
            <p:nvPr/>
          </p:nvSpPr>
          <p:spPr>
            <a:xfrm>
              <a:off x="6585257" y="2633713"/>
              <a:ext cx="12083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169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22.6+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8A835A9-8F57-46CD-B711-3735BFA42CBA}"/>
                </a:ext>
              </a:extLst>
            </p:cNvPr>
            <p:cNvSpPr txBox="1"/>
            <p:nvPr/>
          </p:nvSpPr>
          <p:spPr>
            <a:xfrm>
              <a:off x="5491843" y="3117121"/>
              <a:ext cx="12083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169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18.5+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F064F3E-6457-4966-B4B7-16AA19F62470}"/>
                </a:ext>
              </a:extLst>
            </p:cNvPr>
            <p:cNvSpPr txBox="1"/>
            <p:nvPr/>
          </p:nvSpPr>
          <p:spPr>
            <a:xfrm>
              <a:off x="3771877" y="3598474"/>
              <a:ext cx="12083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169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9.0+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6F77B27-AED7-4679-9972-C97B3A9705CA}"/>
                </a:ext>
              </a:extLst>
            </p:cNvPr>
            <p:cNvSpPr txBox="1"/>
            <p:nvPr/>
          </p:nvSpPr>
          <p:spPr>
            <a:xfrm>
              <a:off x="3281883" y="4092455"/>
              <a:ext cx="120831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2169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rPr>
                <a:t>4.8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FD4BE35-DC5F-44C6-914F-F12B5F81D39D}"/>
              </a:ext>
            </a:extLst>
          </p:cNvPr>
          <p:cNvSpPr txBox="1"/>
          <p:nvPr/>
        </p:nvSpPr>
        <p:spPr>
          <a:xfrm>
            <a:off x="5762625" y="287139"/>
            <a:ext cx="6222924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1775" marR="0" lvl="0" indent="-23177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18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all response to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lutasidenib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in 7 (41%). </a:t>
            </a:r>
          </a:p>
          <a:p>
            <a:pPr marL="231775" marR="0" lvl="0" indent="-23177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18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R was 40% with OLU monotherapy and 50% in the 2 patients receiving combination OLU + AZA.</a:t>
            </a:r>
          </a:p>
          <a:p>
            <a:pPr marL="231775" marR="0" lvl="0" indent="-23177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18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an duration of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+CRh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16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has not been reached and is ongoing at 18.5 months (range 4.8-NR [28.5+])</a:t>
            </a:r>
          </a:p>
          <a:p>
            <a:pPr marL="231775" marR="0" lvl="0" indent="-23177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18A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2169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9555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30137E-C7F7-6917-7358-A3CC272258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090" y="758268"/>
            <a:ext cx="11065820" cy="830997"/>
          </a:xfrm>
        </p:spPr>
        <p:txBody>
          <a:bodyPr/>
          <a:lstStyle/>
          <a:p>
            <a:r>
              <a:rPr lang="en-US" dirty="0">
                <a:latin typeface="Arial Narrow" panose="020B0606020202030204" pitchFamily="34" charset="0"/>
              </a:rPr>
              <a:t>Menin Inhibitors for R/R AML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85D9BB69-547D-620F-1E9F-C04E2481427D}"/>
              </a:ext>
            </a:extLst>
          </p:cNvPr>
          <p:cNvGrpSpPr/>
          <p:nvPr/>
        </p:nvGrpSpPr>
        <p:grpSpPr>
          <a:xfrm>
            <a:off x="605781" y="1589267"/>
            <a:ext cx="11355221" cy="4160714"/>
            <a:chOff x="1548792" y="2640332"/>
            <a:chExt cx="8790054" cy="322080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B304B15-53F2-C3CB-F185-6DBD2155E567}"/>
                </a:ext>
              </a:extLst>
            </p:cNvPr>
            <p:cNvGrpSpPr/>
            <p:nvPr/>
          </p:nvGrpSpPr>
          <p:grpSpPr>
            <a:xfrm>
              <a:off x="1548792" y="2855191"/>
              <a:ext cx="3674718" cy="3005941"/>
              <a:chOff x="5229252" y="294871"/>
              <a:chExt cx="2982193" cy="2181309"/>
            </a:xfrm>
          </p:grpSpPr>
          <p:sp>
            <p:nvSpPr>
              <p:cNvPr id="4" name="Pentagon 137">
                <a:extLst>
                  <a:ext uri="{FF2B5EF4-FFF2-40B4-BE49-F238E27FC236}">
                    <a16:creationId xmlns:a16="http://schemas.microsoft.com/office/drawing/2014/main" id="{D850F6E2-2368-88E3-6B27-2949D588F674}"/>
                  </a:ext>
                </a:extLst>
              </p:cNvPr>
              <p:cNvSpPr/>
              <p:nvPr/>
            </p:nvSpPr>
            <p:spPr>
              <a:xfrm>
                <a:off x="5351040" y="637044"/>
                <a:ext cx="1913146" cy="1603670"/>
              </a:xfrm>
              <a:prstGeom prst="homePlate">
                <a:avLst>
                  <a:gd name="adj" fmla="val 22713"/>
                </a:avLst>
              </a:prstGeom>
              <a:solidFill>
                <a:schemeClr val="tx1">
                  <a:lumMod val="10000"/>
                  <a:lumOff val="90000"/>
                </a:schemeClr>
              </a:solidFill>
              <a:ln>
                <a:noFill/>
              </a:ln>
            </p:spPr>
            <p:style>
              <a:lnRef idx="2">
                <a:schemeClr val="accent2">
                  <a:shade val="15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" name="Rounded Rectangle 133">
                <a:extLst>
                  <a:ext uri="{FF2B5EF4-FFF2-40B4-BE49-F238E27FC236}">
                    <a16:creationId xmlns:a16="http://schemas.microsoft.com/office/drawing/2014/main" id="{BF5B3D1D-0AC3-418A-DA1A-5CEA0496613C}"/>
                  </a:ext>
                </a:extLst>
              </p:cNvPr>
              <p:cNvSpPr/>
              <p:nvPr/>
            </p:nvSpPr>
            <p:spPr>
              <a:xfrm>
                <a:off x="5229252" y="561911"/>
                <a:ext cx="2969679" cy="1762906"/>
              </a:xfrm>
              <a:prstGeom prst="roundRect">
                <a:avLst>
                  <a:gd name="adj" fmla="val 2847"/>
                </a:avLst>
              </a:prstGeom>
              <a:noFill/>
              <a:ln w="9525" cap="flat" cmpd="sng" algn="ctr">
                <a:solidFill>
                  <a:schemeClr val="bg1">
                    <a:lumMod val="75000"/>
                  </a:scheme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B8B1ECAA-51D3-A90B-4151-2AC9531DA500}"/>
                  </a:ext>
                </a:extLst>
              </p:cNvPr>
              <p:cNvSpPr/>
              <p:nvPr/>
            </p:nvSpPr>
            <p:spPr>
              <a:xfrm>
                <a:off x="5241766" y="294871"/>
                <a:ext cx="2969679" cy="307681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1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KMT2Ar</a:t>
                </a: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acute leukemia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F17E8A8-1967-05CC-F905-52C0F7C4630B}"/>
                  </a:ext>
                </a:extLst>
              </p:cNvPr>
              <p:cNvSpPr txBox="1"/>
              <p:nvPr/>
            </p:nvSpPr>
            <p:spPr>
              <a:xfrm>
                <a:off x="6016425" y="2320580"/>
                <a:ext cx="1395333" cy="1556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Gene transcription </a:t>
                </a: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ON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2D856D49-2ED2-2395-3A82-8B55B44B92DC}"/>
                  </a:ext>
                </a:extLst>
              </p:cNvPr>
              <p:cNvSpPr txBox="1"/>
              <p:nvPr/>
            </p:nvSpPr>
            <p:spPr>
              <a:xfrm>
                <a:off x="7220767" y="1659707"/>
                <a:ext cx="923039" cy="1556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eukemia</a:t>
                </a:r>
              </a:p>
            </p:txBody>
          </p: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DB32DD54-C220-5E1A-66A1-50D9391A6B4F}"/>
                  </a:ext>
                </a:extLst>
              </p:cNvPr>
              <p:cNvGrpSpPr/>
              <p:nvPr/>
            </p:nvGrpSpPr>
            <p:grpSpPr>
              <a:xfrm>
                <a:off x="7455736" y="1188067"/>
                <a:ext cx="453152" cy="392702"/>
                <a:chOff x="10411717" y="4187645"/>
                <a:chExt cx="808036" cy="700248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2A779E9E-1E92-9209-B978-383B49BEEF4E}"/>
                    </a:ext>
                  </a:extLst>
                </p:cNvPr>
                <p:cNvSpPr/>
                <p:nvPr/>
              </p:nvSpPr>
              <p:spPr>
                <a:xfrm>
                  <a:off x="10817451" y="4471864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91304475-2EF6-DCE5-92BF-AD1BD79133A3}"/>
                    </a:ext>
                  </a:extLst>
                </p:cNvPr>
                <p:cNvSpPr/>
                <p:nvPr/>
              </p:nvSpPr>
              <p:spPr>
                <a:xfrm>
                  <a:off x="10846049" y="4500462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0AAC8F29-4CB5-C304-A2A4-3B066AF858CB}"/>
                    </a:ext>
                  </a:extLst>
                </p:cNvPr>
                <p:cNvSpPr/>
                <p:nvPr/>
              </p:nvSpPr>
              <p:spPr>
                <a:xfrm>
                  <a:off x="10448789" y="4274146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1ECBAA08-8729-E2AB-DF80-FDFE8B52C6A1}"/>
                    </a:ext>
                  </a:extLst>
                </p:cNvPr>
                <p:cNvSpPr/>
                <p:nvPr/>
              </p:nvSpPr>
              <p:spPr>
                <a:xfrm>
                  <a:off x="10477387" y="4302744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3A9941E3-AFC4-F9DE-5035-EF809218BCDE}"/>
                    </a:ext>
                  </a:extLst>
                </p:cNvPr>
                <p:cNvSpPr/>
                <p:nvPr/>
              </p:nvSpPr>
              <p:spPr>
                <a:xfrm>
                  <a:off x="10411717" y="4443030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364A2304-EE61-4988-1F86-5D4F8BEAA245}"/>
                    </a:ext>
                  </a:extLst>
                </p:cNvPr>
                <p:cNvSpPr/>
                <p:nvPr/>
              </p:nvSpPr>
              <p:spPr>
                <a:xfrm>
                  <a:off x="10440315" y="4471628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DDEC6D66-6C20-16AB-585A-18654BA9D1CD}"/>
                    </a:ext>
                  </a:extLst>
                </p:cNvPr>
                <p:cNvSpPr/>
                <p:nvPr/>
              </p:nvSpPr>
              <p:spPr>
                <a:xfrm>
                  <a:off x="10452908" y="4591319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8AD998C4-DFCC-7034-9855-CBF3AA67A77F}"/>
                    </a:ext>
                  </a:extLst>
                </p:cNvPr>
                <p:cNvSpPr/>
                <p:nvPr/>
              </p:nvSpPr>
              <p:spPr>
                <a:xfrm>
                  <a:off x="10481506" y="4619917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AE5823A6-A298-68AE-DFD2-44D3CEEC137A}"/>
                    </a:ext>
                  </a:extLst>
                </p:cNvPr>
                <p:cNvSpPr/>
                <p:nvPr/>
              </p:nvSpPr>
              <p:spPr>
                <a:xfrm>
                  <a:off x="10634150" y="4595438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DE7C0249-1481-4AF8-006F-9EC04808C37B}"/>
                    </a:ext>
                  </a:extLst>
                </p:cNvPr>
                <p:cNvSpPr/>
                <p:nvPr/>
              </p:nvSpPr>
              <p:spPr>
                <a:xfrm>
                  <a:off x="10662748" y="4624036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2DBB3274-F44C-ACAA-2F0F-A4F8B55421D7}"/>
                    </a:ext>
                  </a:extLst>
                </p:cNvPr>
                <p:cNvSpPr/>
                <p:nvPr/>
              </p:nvSpPr>
              <p:spPr>
                <a:xfrm>
                  <a:off x="10601197" y="4187645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6CDA0ED2-06E4-B69A-AFA2-971C6453C462}"/>
                    </a:ext>
                  </a:extLst>
                </p:cNvPr>
                <p:cNvSpPr/>
                <p:nvPr/>
              </p:nvSpPr>
              <p:spPr>
                <a:xfrm>
                  <a:off x="10629795" y="4216243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1DF3701B-8BE8-B8AF-3B8A-7EE0A7405487}"/>
                    </a:ext>
                  </a:extLst>
                </p:cNvPr>
                <p:cNvSpPr/>
                <p:nvPr/>
              </p:nvSpPr>
              <p:spPr>
                <a:xfrm>
                  <a:off x="10761843" y="4189705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5" name="Oval 54">
                  <a:extLst>
                    <a:ext uri="{FF2B5EF4-FFF2-40B4-BE49-F238E27FC236}">
                      <a16:creationId xmlns:a16="http://schemas.microsoft.com/office/drawing/2014/main" id="{37B99E8C-BF63-4508-957B-BAFD6BE4DC8D}"/>
                    </a:ext>
                  </a:extLst>
                </p:cNvPr>
                <p:cNvSpPr/>
                <p:nvPr/>
              </p:nvSpPr>
              <p:spPr>
                <a:xfrm>
                  <a:off x="10790441" y="4218303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D9B9EC64-5C13-66E7-1B16-E208D3118CBA}"/>
                    </a:ext>
                  </a:extLst>
                </p:cNvPr>
                <p:cNvSpPr/>
                <p:nvPr/>
              </p:nvSpPr>
              <p:spPr>
                <a:xfrm>
                  <a:off x="10916310" y="4232955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id="{28B767C2-CD7B-11A6-5752-A773449A80EE}"/>
                    </a:ext>
                  </a:extLst>
                </p:cNvPr>
                <p:cNvSpPr/>
                <p:nvPr/>
              </p:nvSpPr>
              <p:spPr>
                <a:xfrm>
                  <a:off x="10944908" y="4261553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7214C422-0577-00D6-5204-373A7FEC3DDE}"/>
                    </a:ext>
                  </a:extLst>
                </p:cNvPr>
                <p:cNvSpPr/>
                <p:nvPr/>
              </p:nvSpPr>
              <p:spPr>
                <a:xfrm>
                  <a:off x="11000752" y="4389482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59" name="Oval 58">
                  <a:extLst>
                    <a:ext uri="{FF2B5EF4-FFF2-40B4-BE49-F238E27FC236}">
                      <a16:creationId xmlns:a16="http://schemas.microsoft.com/office/drawing/2014/main" id="{66F3409C-A212-78AC-C889-B5A379D99823}"/>
                    </a:ext>
                  </a:extLst>
                </p:cNvPr>
                <p:cNvSpPr/>
                <p:nvPr/>
              </p:nvSpPr>
              <p:spPr>
                <a:xfrm>
                  <a:off x="11029350" y="4418080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41C0CABD-C485-EC3F-F3F2-2F5FC79FDB9E}"/>
                    </a:ext>
                  </a:extLst>
                </p:cNvPr>
                <p:cNvSpPr/>
                <p:nvPr/>
              </p:nvSpPr>
              <p:spPr>
                <a:xfrm>
                  <a:off x="10973977" y="4581021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1" name="Oval 60">
                  <a:extLst>
                    <a:ext uri="{FF2B5EF4-FFF2-40B4-BE49-F238E27FC236}">
                      <a16:creationId xmlns:a16="http://schemas.microsoft.com/office/drawing/2014/main" id="{43A70468-037E-3905-997D-0A576EE3BE4D}"/>
                    </a:ext>
                  </a:extLst>
                </p:cNvPr>
                <p:cNvSpPr/>
                <p:nvPr/>
              </p:nvSpPr>
              <p:spPr>
                <a:xfrm>
                  <a:off x="11002575" y="4609619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2" name="Oval 61">
                  <a:extLst>
                    <a:ext uri="{FF2B5EF4-FFF2-40B4-BE49-F238E27FC236}">
                      <a16:creationId xmlns:a16="http://schemas.microsoft.com/office/drawing/2014/main" id="{FB0662F5-96B9-F361-2909-F2764D3DB7F8}"/>
                    </a:ext>
                  </a:extLst>
                </p:cNvPr>
                <p:cNvSpPr/>
                <p:nvPr/>
              </p:nvSpPr>
              <p:spPr>
                <a:xfrm>
                  <a:off x="10790676" y="4356529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3" name="Oval 62">
                  <a:extLst>
                    <a:ext uri="{FF2B5EF4-FFF2-40B4-BE49-F238E27FC236}">
                      <a16:creationId xmlns:a16="http://schemas.microsoft.com/office/drawing/2014/main" id="{FE48EF9D-069F-4F5D-488D-0640E0D92D8B}"/>
                    </a:ext>
                  </a:extLst>
                </p:cNvPr>
                <p:cNvSpPr/>
                <p:nvPr/>
              </p:nvSpPr>
              <p:spPr>
                <a:xfrm>
                  <a:off x="10819274" y="4385127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4" name="Oval 63">
                  <a:extLst>
                    <a:ext uri="{FF2B5EF4-FFF2-40B4-BE49-F238E27FC236}">
                      <a16:creationId xmlns:a16="http://schemas.microsoft.com/office/drawing/2014/main" id="{36092EFC-8683-722B-45EF-D4B85B232A5B}"/>
                    </a:ext>
                  </a:extLst>
                </p:cNvPr>
                <p:cNvSpPr/>
                <p:nvPr/>
              </p:nvSpPr>
              <p:spPr>
                <a:xfrm>
                  <a:off x="10592958" y="4323576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9945A64E-F885-3D46-1A2F-E07F9FE39603}"/>
                    </a:ext>
                  </a:extLst>
                </p:cNvPr>
                <p:cNvSpPr/>
                <p:nvPr/>
              </p:nvSpPr>
              <p:spPr>
                <a:xfrm>
                  <a:off x="10621556" y="4352174"/>
                  <a:ext cx="140524" cy="140522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6" name="Oval 65">
                  <a:extLst>
                    <a:ext uri="{FF2B5EF4-FFF2-40B4-BE49-F238E27FC236}">
                      <a16:creationId xmlns:a16="http://schemas.microsoft.com/office/drawing/2014/main" id="{E903BA23-7D4E-D405-F4A0-ECC21442AACE}"/>
                    </a:ext>
                  </a:extLst>
                </p:cNvPr>
                <p:cNvSpPr/>
                <p:nvPr/>
              </p:nvSpPr>
              <p:spPr>
                <a:xfrm>
                  <a:off x="10605316" y="4455388"/>
                  <a:ext cx="219001" cy="218999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7" name="Oval 66">
                  <a:extLst>
                    <a:ext uri="{FF2B5EF4-FFF2-40B4-BE49-F238E27FC236}">
                      <a16:creationId xmlns:a16="http://schemas.microsoft.com/office/drawing/2014/main" id="{31B812CA-6B3D-DB21-244E-4577962CB1BF}"/>
                    </a:ext>
                  </a:extLst>
                </p:cNvPr>
                <p:cNvSpPr/>
                <p:nvPr/>
              </p:nvSpPr>
              <p:spPr>
                <a:xfrm>
                  <a:off x="10632092" y="4482164"/>
                  <a:ext cx="144168" cy="14416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8" name="Oval 67">
                  <a:extLst>
                    <a:ext uri="{FF2B5EF4-FFF2-40B4-BE49-F238E27FC236}">
                      <a16:creationId xmlns:a16="http://schemas.microsoft.com/office/drawing/2014/main" id="{6B51F9FE-5544-4BDD-FD06-A0108773E7B9}"/>
                    </a:ext>
                  </a:extLst>
                </p:cNvPr>
                <p:cNvSpPr/>
                <p:nvPr/>
              </p:nvSpPr>
              <p:spPr>
                <a:xfrm>
                  <a:off x="10762530" y="4637317"/>
                  <a:ext cx="250579" cy="250576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/>
                    </a:gs>
                    <a:gs pos="60000">
                      <a:srgbClr val="5B6770">
                        <a:lumMod val="60000"/>
                        <a:lumOff val="4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9" name="Oval 68">
                  <a:extLst>
                    <a:ext uri="{FF2B5EF4-FFF2-40B4-BE49-F238E27FC236}">
                      <a16:creationId xmlns:a16="http://schemas.microsoft.com/office/drawing/2014/main" id="{A80C503C-F2C1-BE61-9C7B-68FC7A9C3504}"/>
                    </a:ext>
                  </a:extLst>
                </p:cNvPr>
                <p:cNvSpPr/>
                <p:nvPr/>
              </p:nvSpPr>
              <p:spPr>
                <a:xfrm>
                  <a:off x="10795251" y="4670038"/>
                  <a:ext cx="160788" cy="160784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rgbClr val="FFFFFF"/>
                    </a:gs>
                    <a:gs pos="100000">
                      <a:srgbClr val="5B6770">
                        <a:lumMod val="60000"/>
                        <a:lumOff val="40000"/>
                      </a:srgbClr>
                    </a:gs>
                    <a:gs pos="60000">
                      <a:srgbClr val="5B6770">
                        <a:lumMod val="20000"/>
                        <a:lumOff val="80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3175" cap="flat" cmpd="sng" algn="ctr">
                  <a:gradFill>
                    <a:gsLst>
                      <a:gs pos="100000">
                        <a:srgbClr val="5B6770">
                          <a:lumMod val="60000"/>
                          <a:lumOff val="40000"/>
                        </a:srgbClr>
                      </a:gs>
                      <a:gs pos="55000">
                        <a:srgbClr val="5B6770"/>
                      </a:gs>
                    </a:gsLst>
                    <a:lin ang="5400000" scaled="1"/>
                  </a:gra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B694AE36-C74A-694D-3AA7-F8DBB73CE67F}"/>
                  </a:ext>
                </a:extLst>
              </p:cNvPr>
              <p:cNvGrpSpPr/>
              <p:nvPr/>
            </p:nvGrpSpPr>
            <p:grpSpPr>
              <a:xfrm>
                <a:off x="5476255" y="739898"/>
                <a:ext cx="1457675" cy="597383"/>
                <a:chOff x="973344" y="2483213"/>
                <a:chExt cx="2599260" cy="1065221"/>
              </a:xfrm>
            </p:grpSpPr>
            <p:sp>
              <p:nvSpPr>
                <p:cNvPr id="27" name="Oval 26">
                  <a:extLst>
                    <a:ext uri="{FF2B5EF4-FFF2-40B4-BE49-F238E27FC236}">
                      <a16:creationId xmlns:a16="http://schemas.microsoft.com/office/drawing/2014/main" id="{69ED80A2-7EBA-F0F9-7EB9-723B245BDC6E}"/>
                    </a:ext>
                  </a:extLst>
                </p:cNvPr>
                <p:cNvSpPr/>
                <p:nvPr/>
              </p:nvSpPr>
              <p:spPr>
                <a:xfrm>
                  <a:off x="1120838" y="2483213"/>
                  <a:ext cx="914400" cy="914400"/>
                </a:xfrm>
                <a:prstGeom prst="ellipse">
                  <a:avLst/>
                </a:prstGeom>
                <a:solidFill>
                  <a:srgbClr val="3B7587">
                    <a:lumMod val="40000"/>
                    <a:lumOff val="6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8" name="Group 27">
                  <a:extLst>
                    <a:ext uri="{FF2B5EF4-FFF2-40B4-BE49-F238E27FC236}">
                      <a16:creationId xmlns:a16="http://schemas.microsoft.com/office/drawing/2014/main" id="{3A3930CA-458F-B7BB-C694-EDA920C785A2}"/>
                    </a:ext>
                  </a:extLst>
                </p:cNvPr>
                <p:cNvGrpSpPr/>
                <p:nvPr/>
              </p:nvGrpSpPr>
              <p:grpSpPr>
                <a:xfrm>
                  <a:off x="973344" y="3294529"/>
                  <a:ext cx="2599260" cy="253905"/>
                  <a:chOff x="1271242" y="4349874"/>
                  <a:chExt cx="2599260" cy="253905"/>
                </a:xfrm>
              </p:grpSpPr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F7A98776-4299-28FF-7B75-F0F2BDF8FD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443484" y="4482062"/>
                    <a:ext cx="2247570" cy="0"/>
                  </a:xfrm>
                  <a:prstGeom prst="line">
                    <a:avLst/>
                  </a:prstGeom>
                  <a:noFill/>
                  <a:ln w="222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" name="Straight Connector 34">
                    <a:extLst>
                      <a:ext uri="{FF2B5EF4-FFF2-40B4-BE49-F238E27FC236}">
                        <a16:creationId xmlns:a16="http://schemas.microsoft.com/office/drawing/2014/main" id="{2008703A-2D29-5776-5750-73C783AD0D8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3616081" y="4404639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6" name="Straight Connector 35">
                    <a:extLst>
                      <a:ext uri="{FF2B5EF4-FFF2-40B4-BE49-F238E27FC236}">
                        <a16:creationId xmlns:a16="http://schemas.microsoft.com/office/drawing/2014/main" id="{4B6164A9-1FF1-9AC2-4560-8643A98CA66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3698260" y="4404639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7" name="Straight Connector 36">
                    <a:extLst>
                      <a:ext uri="{FF2B5EF4-FFF2-40B4-BE49-F238E27FC236}">
                        <a16:creationId xmlns:a16="http://schemas.microsoft.com/office/drawing/2014/main" id="{1150F35C-26D2-4450-0D99-97A73547AC7B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271242" y="4385052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8" name="Straight Connector 37">
                    <a:extLst>
                      <a:ext uri="{FF2B5EF4-FFF2-40B4-BE49-F238E27FC236}">
                        <a16:creationId xmlns:a16="http://schemas.microsoft.com/office/drawing/2014/main" id="{CA86D235-0B4B-4DA2-435A-69AFA9569315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353421" y="4385052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sp>
                <p:nvSpPr>
                  <p:cNvPr id="39" name="Rectangle 38">
                    <a:extLst>
                      <a:ext uri="{FF2B5EF4-FFF2-40B4-BE49-F238E27FC236}">
                        <a16:creationId xmlns:a16="http://schemas.microsoft.com/office/drawing/2014/main" id="{0CB6F82F-F312-F151-85B6-65A3A1845070}"/>
                      </a:ext>
                    </a:extLst>
                  </p:cNvPr>
                  <p:cNvSpPr/>
                  <p:nvPr/>
                </p:nvSpPr>
                <p:spPr>
                  <a:xfrm>
                    <a:off x="2369751" y="4349874"/>
                    <a:ext cx="567744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HOX</a:t>
                    </a:r>
                  </a:p>
                </p:txBody>
              </p:sp>
              <p:sp>
                <p:nvSpPr>
                  <p:cNvPr id="40" name="Rectangle 39">
                    <a:extLst>
                      <a:ext uri="{FF2B5EF4-FFF2-40B4-BE49-F238E27FC236}">
                        <a16:creationId xmlns:a16="http://schemas.microsoft.com/office/drawing/2014/main" id="{5914E48E-CCD4-5D4A-30E7-3034B7A5A0B8}"/>
                      </a:ext>
                    </a:extLst>
                  </p:cNvPr>
                  <p:cNvSpPr/>
                  <p:nvPr/>
                </p:nvSpPr>
                <p:spPr>
                  <a:xfrm>
                    <a:off x="2996255" y="4349874"/>
                    <a:ext cx="89840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41" name="Rectangle 40">
                    <a:extLst>
                      <a:ext uri="{FF2B5EF4-FFF2-40B4-BE49-F238E27FC236}">
                        <a16:creationId xmlns:a16="http://schemas.microsoft.com/office/drawing/2014/main" id="{5058B6C9-9F09-6D52-249B-DCFAAF42F400}"/>
                      </a:ext>
                    </a:extLst>
                  </p:cNvPr>
                  <p:cNvSpPr/>
                  <p:nvPr/>
                </p:nvSpPr>
                <p:spPr>
                  <a:xfrm>
                    <a:off x="3144854" y="4349874"/>
                    <a:ext cx="172241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29" name="TextBox 28">
                  <a:extLst>
                    <a:ext uri="{FF2B5EF4-FFF2-40B4-BE49-F238E27FC236}">
                      <a16:creationId xmlns:a16="http://schemas.microsoft.com/office/drawing/2014/main" id="{3D02891D-B5A3-510C-E45C-F831B351B9C5}"/>
                    </a:ext>
                  </a:extLst>
                </p:cNvPr>
                <p:cNvSpPr txBox="1"/>
                <p:nvPr/>
              </p:nvSpPr>
              <p:spPr>
                <a:xfrm>
                  <a:off x="1161124" y="2742056"/>
                  <a:ext cx="673743" cy="2774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nin</a:t>
                  </a:r>
                </a:p>
              </p:txBody>
            </p:sp>
            <p:sp>
              <p:nvSpPr>
                <p:cNvPr id="30" name="Teardrop 29">
                  <a:extLst>
                    <a:ext uri="{FF2B5EF4-FFF2-40B4-BE49-F238E27FC236}">
                      <a16:creationId xmlns:a16="http://schemas.microsoft.com/office/drawing/2014/main" id="{E26ED257-399A-E449-9AC1-80CE5E158277}"/>
                    </a:ext>
                  </a:extLst>
                </p:cNvPr>
                <p:cNvSpPr/>
                <p:nvPr/>
              </p:nvSpPr>
              <p:spPr>
                <a:xfrm rot="1335768">
                  <a:off x="1917718" y="2839523"/>
                  <a:ext cx="216523" cy="279713"/>
                </a:xfrm>
                <a:prstGeom prst="teardrop">
                  <a:avLst>
                    <a:gd name="adj" fmla="val 58662"/>
                  </a:avLst>
                </a:prstGeom>
                <a:solidFill>
                  <a:srgbClr val="E3F3F6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1" name="Oval 30">
                  <a:extLst>
                    <a:ext uri="{FF2B5EF4-FFF2-40B4-BE49-F238E27FC236}">
                      <a16:creationId xmlns:a16="http://schemas.microsoft.com/office/drawing/2014/main" id="{8B2F5C20-936B-6BDB-7FCF-C57F88F584D8}"/>
                    </a:ext>
                  </a:extLst>
                </p:cNvPr>
                <p:cNvSpPr/>
                <p:nvPr/>
              </p:nvSpPr>
              <p:spPr>
                <a:xfrm>
                  <a:off x="2078327" y="2773566"/>
                  <a:ext cx="1285980" cy="431758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F0C8C058-7895-7D6D-A546-4B7DCF057030}"/>
                    </a:ext>
                  </a:extLst>
                </p:cNvPr>
                <p:cNvSpPr/>
                <p:nvPr/>
              </p:nvSpPr>
              <p:spPr>
                <a:xfrm>
                  <a:off x="1995502" y="2856313"/>
                  <a:ext cx="248755" cy="263520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solidFill>
                    <a:srgbClr val="3B7587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D306D4B9-4733-2229-E689-AB4B296821EC}"/>
                    </a:ext>
                  </a:extLst>
                </p:cNvPr>
                <p:cNvSpPr txBox="1"/>
                <p:nvPr/>
              </p:nvSpPr>
              <p:spPr>
                <a:xfrm>
                  <a:off x="2240283" y="2791087"/>
                  <a:ext cx="838946" cy="2774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1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MT2Ar</a:t>
                  </a:r>
                </a:p>
              </p:txBody>
            </p: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D80812D7-716E-66BE-BEC1-C2C63BC16ABB}"/>
                  </a:ext>
                </a:extLst>
              </p:cNvPr>
              <p:cNvGrpSpPr/>
              <p:nvPr/>
            </p:nvGrpSpPr>
            <p:grpSpPr>
              <a:xfrm>
                <a:off x="5476255" y="1462793"/>
                <a:ext cx="1457675" cy="597383"/>
                <a:chOff x="973344" y="2483213"/>
                <a:chExt cx="2599260" cy="1065221"/>
              </a:xfrm>
              <a:effectLst/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CAF5DBD4-71B8-AC83-41E6-838D5F2BCBD7}"/>
                    </a:ext>
                  </a:extLst>
                </p:cNvPr>
                <p:cNvSpPr/>
                <p:nvPr/>
              </p:nvSpPr>
              <p:spPr>
                <a:xfrm>
                  <a:off x="1120838" y="2483213"/>
                  <a:ext cx="914400" cy="914400"/>
                </a:xfrm>
                <a:prstGeom prst="ellipse">
                  <a:avLst/>
                </a:prstGeom>
                <a:solidFill>
                  <a:srgbClr val="3B7587">
                    <a:lumMod val="40000"/>
                    <a:lumOff val="6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" name="Group 12">
                  <a:extLst>
                    <a:ext uri="{FF2B5EF4-FFF2-40B4-BE49-F238E27FC236}">
                      <a16:creationId xmlns:a16="http://schemas.microsoft.com/office/drawing/2014/main" id="{E6C1FB06-AF98-1467-E424-1C936B964660}"/>
                    </a:ext>
                  </a:extLst>
                </p:cNvPr>
                <p:cNvGrpSpPr/>
                <p:nvPr/>
              </p:nvGrpSpPr>
              <p:grpSpPr>
                <a:xfrm>
                  <a:off x="973344" y="3294529"/>
                  <a:ext cx="2599260" cy="253905"/>
                  <a:chOff x="1271242" y="4349874"/>
                  <a:chExt cx="2599260" cy="253905"/>
                </a:xfrm>
              </p:grpSpPr>
              <p:cxnSp>
                <p:nvCxnSpPr>
                  <p:cNvPr id="19" name="Straight Connector 18">
                    <a:extLst>
                      <a:ext uri="{FF2B5EF4-FFF2-40B4-BE49-F238E27FC236}">
                        <a16:creationId xmlns:a16="http://schemas.microsoft.com/office/drawing/2014/main" id="{9FCE4793-482B-A48E-1C04-B37F648E631E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443484" y="4482062"/>
                    <a:ext cx="2247570" cy="0"/>
                  </a:xfrm>
                  <a:prstGeom prst="line">
                    <a:avLst/>
                  </a:prstGeom>
                  <a:noFill/>
                  <a:ln w="22225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" name="Straight Connector 19">
                    <a:extLst>
                      <a:ext uri="{FF2B5EF4-FFF2-40B4-BE49-F238E27FC236}">
                        <a16:creationId xmlns:a16="http://schemas.microsoft.com/office/drawing/2014/main" id="{BAEA81BB-7A41-BDDA-0EE7-2D8AFC4627E0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3616081" y="4404639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1" name="Straight Connector 20">
                    <a:extLst>
                      <a:ext uri="{FF2B5EF4-FFF2-40B4-BE49-F238E27FC236}">
                        <a16:creationId xmlns:a16="http://schemas.microsoft.com/office/drawing/2014/main" id="{557196FE-9E6E-A0DA-A829-EA193685579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3698260" y="4404639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" name="Straight Connector 21">
                    <a:extLst>
                      <a:ext uri="{FF2B5EF4-FFF2-40B4-BE49-F238E27FC236}">
                        <a16:creationId xmlns:a16="http://schemas.microsoft.com/office/drawing/2014/main" id="{3C9D8598-39E1-2AA3-6C34-77DF1CF894D1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271242" y="4385052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" name="Straight Connector 22">
                    <a:extLst>
                      <a:ext uri="{FF2B5EF4-FFF2-40B4-BE49-F238E27FC236}">
                        <a16:creationId xmlns:a16="http://schemas.microsoft.com/office/drawing/2014/main" id="{8B7F0A08-EE02-2E21-01CC-6A087D58383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 flipV="1">
                    <a:off x="1353421" y="4385052"/>
                    <a:ext cx="172242" cy="171987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ysClr val="windowText" lastClr="000000"/>
                    </a:solidFill>
                    <a:prstDash val="solid"/>
                  </a:ln>
                  <a:effectLst/>
                </p:spPr>
              </p:cxnSp>
              <p:sp>
                <p:nvSpPr>
                  <p:cNvPr id="24" name="Rectangle 23">
                    <a:extLst>
                      <a:ext uri="{FF2B5EF4-FFF2-40B4-BE49-F238E27FC236}">
                        <a16:creationId xmlns:a16="http://schemas.microsoft.com/office/drawing/2014/main" id="{0FC53F99-8DC1-5D97-ABBF-6B67C6E45654}"/>
                      </a:ext>
                    </a:extLst>
                  </p:cNvPr>
                  <p:cNvSpPr/>
                  <p:nvPr/>
                </p:nvSpPr>
                <p:spPr>
                  <a:xfrm>
                    <a:off x="2369751" y="4349874"/>
                    <a:ext cx="567744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lIns="0" rIns="0"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200" b="0" i="1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MEIS</a:t>
                    </a:r>
                  </a:p>
                </p:txBody>
              </p:sp>
              <p:sp>
                <p:nvSpPr>
                  <p:cNvPr id="25" name="Rectangle 24">
                    <a:extLst>
                      <a:ext uri="{FF2B5EF4-FFF2-40B4-BE49-F238E27FC236}">
                        <a16:creationId xmlns:a16="http://schemas.microsoft.com/office/drawing/2014/main" id="{32FC0352-9E9B-6594-0643-E6E5667C73EA}"/>
                      </a:ext>
                    </a:extLst>
                  </p:cNvPr>
                  <p:cNvSpPr/>
                  <p:nvPr/>
                </p:nvSpPr>
                <p:spPr>
                  <a:xfrm>
                    <a:off x="2996255" y="4349874"/>
                    <a:ext cx="89840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6" name="Rectangle 25">
                    <a:extLst>
                      <a:ext uri="{FF2B5EF4-FFF2-40B4-BE49-F238E27FC236}">
                        <a16:creationId xmlns:a16="http://schemas.microsoft.com/office/drawing/2014/main" id="{63576E40-D56B-FFCE-8FC5-776A6DB4E302}"/>
                      </a:ext>
                    </a:extLst>
                  </p:cNvPr>
                  <p:cNvSpPr/>
                  <p:nvPr/>
                </p:nvSpPr>
                <p:spPr>
                  <a:xfrm>
                    <a:off x="3144854" y="4349874"/>
                    <a:ext cx="172241" cy="253905"/>
                  </a:xfrm>
                  <a:prstGeom prst="rect">
                    <a:avLst/>
                  </a:prstGeom>
                  <a:solidFill>
                    <a:schemeClr val="accent5"/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419DEF5B-1A7D-19FB-1CF2-6AB04FB963BC}"/>
                    </a:ext>
                  </a:extLst>
                </p:cNvPr>
                <p:cNvSpPr txBox="1"/>
                <p:nvPr/>
              </p:nvSpPr>
              <p:spPr>
                <a:xfrm>
                  <a:off x="1161124" y="2742056"/>
                  <a:ext cx="673743" cy="2774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nin</a:t>
                  </a:r>
                </a:p>
              </p:txBody>
            </p:sp>
            <p:sp>
              <p:nvSpPr>
                <p:cNvPr id="15" name="Teardrop 14">
                  <a:extLst>
                    <a:ext uri="{FF2B5EF4-FFF2-40B4-BE49-F238E27FC236}">
                      <a16:creationId xmlns:a16="http://schemas.microsoft.com/office/drawing/2014/main" id="{A65C05D6-A2CC-76F7-13A1-4B2322CA9EB2}"/>
                    </a:ext>
                  </a:extLst>
                </p:cNvPr>
                <p:cNvSpPr/>
                <p:nvPr/>
              </p:nvSpPr>
              <p:spPr>
                <a:xfrm rot="1335768">
                  <a:off x="1917718" y="2839523"/>
                  <a:ext cx="216523" cy="279713"/>
                </a:xfrm>
                <a:prstGeom prst="teardrop">
                  <a:avLst>
                    <a:gd name="adj" fmla="val 58662"/>
                  </a:avLst>
                </a:prstGeom>
                <a:solidFill>
                  <a:srgbClr val="E3F3F6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Oval 15">
                  <a:extLst>
                    <a:ext uri="{FF2B5EF4-FFF2-40B4-BE49-F238E27FC236}">
                      <a16:creationId xmlns:a16="http://schemas.microsoft.com/office/drawing/2014/main" id="{12CC1F00-A7C7-3DA8-CEDC-817EF95392A6}"/>
                    </a:ext>
                  </a:extLst>
                </p:cNvPr>
                <p:cNvSpPr/>
                <p:nvPr/>
              </p:nvSpPr>
              <p:spPr>
                <a:xfrm>
                  <a:off x="2078327" y="2773566"/>
                  <a:ext cx="1285980" cy="431758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C304B662-02B4-3C96-F101-B30FDD836D7F}"/>
                    </a:ext>
                  </a:extLst>
                </p:cNvPr>
                <p:cNvSpPr/>
                <p:nvPr/>
              </p:nvSpPr>
              <p:spPr>
                <a:xfrm>
                  <a:off x="1995502" y="2856313"/>
                  <a:ext cx="248755" cy="263520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solidFill>
                    <a:srgbClr val="3B7587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D9A46FFE-9605-B62D-0D50-425C740DBA2F}"/>
                    </a:ext>
                  </a:extLst>
                </p:cNvPr>
                <p:cNvSpPr txBox="1"/>
                <p:nvPr/>
              </p:nvSpPr>
              <p:spPr>
                <a:xfrm>
                  <a:off x="2240283" y="2791087"/>
                  <a:ext cx="838946" cy="27745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1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MT2Ar</a:t>
                  </a:r>
                </a:p>
              </p:txBody>
            </p:sp>
          </p:grp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43A8FC29-4FF5-FC24-3CD1-7B12043C7C88}"/>
                </a:ext>
              </a:extLst>
            </p:cNvPr>
            <p:cNvGrpSpPr/>
            <p:nvPr/>
          </p:nvGrpSpPr>
          <p:grpSpPr>
            <a:xfrm>
              <a:off x="6136909" y="2640332"/>
              <a:ext cx="4201937" cy="3193497"/>
              <a:chOff x="5220792" y="2556048"/>
              <a:chExt cx="2969679" cy="2122234"/>
            </a:xfrm>
          </p:grpSpPr>
          <p:sp>
            <p:nvSpPr>
              <p:cNvPr id="139" name="Rectangle 138">
                <a:extLst>
                  <a:ext uri="{FF2B5EF4-FFF2-40B4-BE49-F238E27FC236}">
                    <a16:creationId xmlns:a16="http://schemas.microsoft.com/office/drawing/2014/main" id="{6BFEB08E-0BEE-8A64-4475-538A6D217E6E}"/>
                  </a:ext>
                </a:extLst>
              </p:cNvPr>
              <p:cNvSpPr/>
              <p:nvPr/>
            </p:nvSpPr>
            <p:spPr>
              <a:xfrm>
                <a:off x="5220792" y="2556048"/>
                <a:ext cx="2969679" cy="424501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5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enin inhibition</a:t>
                </a:r>
              </a:p>
            </p:txBody>
          </p:sp>
          <p:grpSp>
            <p:nvGrpSpPr>
              <p:cNvPr id="140" name="Group 139">
                <a:extLst>
                  <a:ext uri="{FF2B5EF4-FFF2-40B4-BE49-F238E27FC236}">
                    <a16:creationId xmlns:a16="http://schemas.microsoft.com/office/drawing/2014/main" id="{D81915EA-F152-E930-6A2E-81404638BAF1}"/>
                  </a:ext>
                </a:extLst>
              </p:cNvPr>
              <p:cNvGrpSpPr/>
              <p:nvPr/>
            </p:nvGrpSpPr>
            <p:grpSpPr>
              <a:xfrm>
                <a:off x="5220792" y="2884709"/>
                <a:ext cx="2969679" cy="1793573"/>
                <a:chOff x="5204166" y="2884709"/>
                <a:chExt cx="2969679" cy="1793573"/>
              </a:xfrm>
            </p:grpSpPr>
            <p:sp>
              <p:nvSpPr>
                <p:cNvPr id="141" name="Pentagon 138">
                  <a:extLst>
                    <a:ext uri="{FF2B5EF4-FFF2-40B4-BE49-F238E27FC236}">
                      <a16:creationId xmlns:a16="http://schemas.microsoft.com/office/drawing/2014/main" id="{0439F806-E4C3-D992-CE3E-34F31BFF14B7}"/>
                    </a:ext>
                  </a:extLst>
                </p:cNvPr>
                <p:cNvSpPr/>
                <p:nvPr/>
              </p:nvSpPr>
              <p:spPr>
                <a:xfrm>
                  <a:off x="5304998" y="3686006"/>
                  <a:ext cx="1823243" cy="764985"/>
                </a:xfrm>
                <a:prstGeom prst="homePlate">
                  <a:avLst>
                    <a:gd name="adj" fmla="val 22713"/>
                  </a:avLst>
                </a:prstGeom>
                <a:solidFill>
                  <a:schemeClr val="tx1">
                    <a:lumMod val="10000"/>
                    <a:lumOff val="90000"/>
                  </a:schemeClr>
                </a:solidFill>
                <a:ln>
                  <a:noFill/>
                </a:ln>
              </p:spPr>
              <p:style>
                <a:lnRef idx="2">
                  <a:schemeClr val="accent2">
                    <a:shade val="15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2" name="Rounded Rectangle 6">
                  <a:extLst>
                    <a:ext uri="{FF2B5EF4-FFF2-40B4-BE49-F238E27FC236}">
                      <a16:creationId xmlns:a16="http://schemas.microsoft.com/office/drawing/2014/main" id="{3FC40D31-EC27-AF98-1773-84C4CEB1B34E}"/>
                    </a:ext>
                  </a:extLst>
                </p:cNvPr>
                <p:cNvSpPr/>
                <p:nvPr/>
              </p:nvSpPr>
              <p:spPr>
                <a:xfrm>
                  <a:off x="5204166" y="2884709"/>
                  <a:ext cx="2969679" cy="1645920"/>
                </a:xfrm>
                <a:prstGeom prst="roundRect">
                  <a:avLst>
                    <a:gd name="adj" fmla="val 2847"/>
                  </a:avLst>
                </a:prstGeom>
                <a:noFill/>
                <a:ln w="9525" cap="flat" cmpd="sng" algn="ctr">
                  <a:solidFill>
                    <a:schemeClr val="bg1">
                      <a:lumMod val="75000"/>
                    </a:scheme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43" name="TextBox 142">
                  <a:extLst>
                    <a:ext uri="{FF2B5EF4-FFF2-40B4-BE49-F238E27FC236}">
                      <a16:creationId xmlns:a16="http://schemas.microsoft.com/office/drawing/2014/main" id="{ABDCF7C9-A569-E224-D233-74019D06BADE}"/>
                    </a:ext>
                  </a:extLst>
                </p:cNvPr>
                <p:cNvSpPr txBox="1"/>
                <p:nvPr/>
              </p:nvSpPr>
              <p:spPr>
                <a:xfrm>
                  <a:off x="7148785" y="4128114"/>
                  <a:ext cx="923039" cy="23749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ifferentiation/</a:t>
                  </a:r>
                  <a:b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</a:b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poptosis</a:t>
                  </a:r>
                </a:p>
              </p:txBody>
            </p:sp>
            <p:sp>
              <p:nvSpPr>
                <p:cNvPr id="144" name="TextBox 143">
                  <a:extLst>
                    <a:ext uri="{FF2B5EF4-FFF2-40B4-BE49-F238E27FC236}">
                      <a16:creationId xmlns:a16="http://schemas.microsoft.com/office/drawing/2014/main" id="{E75A442F-F0D0-EC2A-6AAA-EE36B4A8FE6A}"/>
                    </a:ext>
                  </a:extLst>
                </p:cNvPr>
                <p:cNvSpPr txBox="1"/>
                <p:nvPr/>
              </p:nvSpPr>
              <p:spPr>
                <a:xfrm>
                  <a:off x="5666777" y="3754100"/>
                  <a:ext cx="404542" cy="142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FF</a:t>
                  </a:r>
                </a:p>
              </p:txBody>
            </p:sp>
            <p:sp>
              <p:nvSpPr>
                <p:cNvPr id="145" name="TextBox 144">
                  <a:extLst>
                    <a:ext uri="{FF2B5EF4-FFF2-40B4-BE49-F238E27FC236}">
                      <a16:creationId xmlns:a16="http://schemas.microsoft.com/office/drawing/2014/main" id="{8AEC12DB-7941-A025-161B-1A98419F8C19}"/>
                    </a:ext>
                  </a:extLst>
                </p:cNvPr>
                <p:cNvSpPr txBox="1"/>
                <p:nvPr/>
              </p:nvSpPr>
              <p:spPr>
                <a:xfrm>
                  <a:off x="6228831" y="2907530"/>
                  <a:ext cx="800537" cy="142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vumenib</a:t>
                  </a:r>
                </a:p>
              </p:txBody>
            </p:sp>
            <p:cxnSp>
              <p:nvCxnSpPr>
                <p:cNvPr id="146" name="Straight Connector 145">
                  <a:extLst>
                    <a:ext uri="{FF2B5EF4-FFF2-40B4-BE49-F238E27FC236}">
                      <a16:creationId xmlns:a16="http://schemas.microsoft.com/office/drawing/2014/main" id="{78E43ECD-6792-ECE2-FE68-5456820CC9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59537" y="3903436"/>
                  <a:ext cx="1260447" cy="0"/>
                </a:xfrm>
                <a:prstGeom prst="line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47" name="Straight Connector 146">
                  <a:extLst>
                    <a:ext uri="{FF2B5EF4-FFF2-40B4-BE49-F238E27FC236}">
                      <a16:creationId xmlns:a16="http://schemas.microsoft.com/office/drawing/2014/main" id="{FD56EF66-3D52-9A4E-733D-3682047C18E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777939" y="3860017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657F9314-321F-4942-2E02-3241CCBA60C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824025" y="3860017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C6BFD582-83B3-3A4F-2E5B-4A89EFEF98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462943" y="3849032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50" name="Straight Connector 149">
                  <a:extLst>
                    <a:ext uri="{FF2B5EF4-FFF2-40B4-BE49-F238E27FC236}">
                      <a16:creationId xmlns:a16="http://schemas.microsoft.com/office/drawing/2014/main" id="{CA45F331-9E0A-C577-CFB6-0C71523E1F2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509030" y="3849032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F880ED9B-3CF8-F375-F420-EC61D4E2A46F}"/>
                    </a:ext>
                  </a:extLst>
                </p:cNvPr>
                <p:cNvSpPr/>
                <p:nvPr/>
              </p:nvSpPr>
              <p:spPr>
                <a:xfrm>
                  <a:off x="6078992" y="3829304"/>
                  <a:ext cx="31839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1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HOX</a:t>
                  </a: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ED6D4D4D-315C-0B46-1FF6-7C62CDFC79DE}"/>
                    </a:ext>
                  </a:extLst>
                </p:cNvPr>
                <p:cNvSpPr/>
                <p:nvPr/>
              </p:nvSpPr>
              <p:spPr>
                <a:xfrm>
                  <a:off x="6430338" y="3829304"/>
                  <a:ext cx="5038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FB858ADF-9848-3C0B-6131-783387F68F2D}"/>
                    </a:ext>
                  </a:extLst>
                </p:cNvPr>
                <p:cNvSpPr/>
                <p:nvPr/>
              </p:nvSpPr>
              <p:spPr>
                <a:xfrm>
                  <a:off x="6513673" y="3829304"/>
                  <a:ext cx="9659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54" name="Group 153">
                  <a:extLst>
                    <a:ext uri="{FF2B5EF4-FFF2-40B4-BE49-F238E27FC236}">
                      <a16:creationId xmlns:a16="http://schemas.microsoft.com/office/drawing/2014/main" id="{5EF58E20-5366-0D7D-EE06-289E165E408F}"/>
                    </a:ext>
                  </a:extLst>
                </p:cNvPr>
                <p:cNvGrpSpPr/>
                <p:nvPr/>
              </p:nvGrpSpPr>
              <p:grpSpPr>
                <a:xfrm>
                  <a:off x="7373153" y="3739052"/>
                  <a:ext cx="474328" cy="357732"/>
                  <a:chOff x="10017640" y="3678068"/>
                  <a:chExt cx="845798" cy="637888"/>
                </a:xfrm>
              </p:grpSpPr>
              <p:grpSp>
                <p:nvGrpSpPr>
                  <p:cNvPr id="174" name="Group 173">
                    <a:extLst>
                      <a:ext uri="{FF2B5EF4-FFF2-40B4-BE49-F238E27FC236}">
                        <a16:creationId xmlns:a16="http://schemas.microsoft.com/office/drawing/2014/main" id="{0EA45689-28C9-70EF-22A8-DDC03903B039}"/>
                      </a:ext>
                    </a:extLst>
                  </p:cNvPr>
                  <p:cNvGrpSpPr/>
                  <p:nvPr/>
                </p:nvGrpSpPr>
                <p:grpSpPr>
                  <a:xfrm>
                    <a:off x="10637329" y="3784714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99" name="Oval 198">
                      <a:extLst>
                        <a:ext uri="{FF2B5EF4-FFF2-40B4-BE49-F238E27FC236}">
                          <a16:creationId xmlns:a16="http://schemas.microsoft.com/office/drawing/2014/main" id="{A4ED3F13-1561-8FF4-24E5-C026AC4763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5B6770">
                            <a:lumMod val="60000"/>
                            <a:lumOff val="40000"/>
                          </a:srgbClr>
                        </a:gs>
                        <a:gs pos="60000">
                          <a:srgbClr val="5B6770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00" name="Freeform 5">
                      <a:extLst>
                        <a:ext uri="{FF2B5EF4-FFF2-40B4-BE49-F238E27FC236}">
                          <a16:creationId xmlns:a16="http://schemas.microsoft.com/office/drawing/2014/main" id="{A371745F-2177-ADF0-3925-A0225C164306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5B677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75" name="Group 174">
                    <a:extLst>
                      <a:ext uri="{FF2B5EF4-FFF2-40B4-BE49-F238E27FC236}">
                        <a16:creationId xmlns:a16="http://schemas.microsoft.com/office/drawing/2014/main" id="{D6FCDEF1-B167-8371-E731-B733C5527BAA}"/>
                      </a:ext>
                    </a:extLst>
                  </p:cNvPr>
                  <p:cNvGrpSpPr/>
                  <p:nvPr/>
                </p:nvGrpSpPr>
                <p:grpSpPr>
                  <a:xfrm>
                    <a:off x="10171323" y="3678068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97" name="Oval 196">
                      <a:extLst>
                        <a:ext uri="{FF2B5EF4-FFF2-40B4-BE49-F238E27FC236}">
                          <a16:creationId xmlns:a16="http://schemas.microsoft.com/office/drawing/2014/main" id="{3866DDFA-30EA-F022-8085-DE82D5D0B4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5B6770">
                            <a:lumMod val="60000"/>
                            <a:lumOff val="40000"/>
                          </a:srgbClr>
                        </a:gs>
                        <a:gs pos="60000">
                          <a:srgbClr val="5B6770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8" name="Freeform 5">
                      <a:extLst>
                        <a:ext uri="{FF2B5EF4-FFF2-40B4-BE49-F238E27FC236}">
                          <a16:creationId xmlns:a16="http://schemas.microsoft.com/office/drawing/2014/main" id="{98468CCA-CA10-D9C5-DFFA-C84890478F3F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5B677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76" name="Group 175">
                    <a:extLst>
                      <a:ext uri="{FF2B5EF4-FFF2-40B4-BE49-F238E27FC236}">
                        <a16:creationId xmlns:a16="http://schemas.microsoft.com/office/drawing/2014/main" id="{0BE2506B-35B6-0E23-C71A-782EC2F54730}"/>
                      </a:ext>
                    </a:extLst>
                  </p:cNvPr>
                  <p:cNvGrpSpPr/>
                  <p:nvPr/>
                </p:nvGrpSpPr>
                <p:grpSpPr>
                  <a:xfrm>
                    <a:off x="10353515" y="3779676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95" name="Oval 194">
                      <a:extLst>
                        <a:ext uri="{FF2B5EF4-FFF2-40B4-BE49-F238E27FC236}">
                          <a16:creationId xmlns:a16="http://schemas.microsoft.com/office/drawing/2014/main" id="{952FEF23-92E2-25F1-4902-4D8B563279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3B7587">
                            <a:lumMod val="60000"/>
                            <a:lumOff val="40000"/>
                          </a:srgbClr>
                        </a:gs>
                        <a:gs pos="60000">
                          <a:srgbClr val="3B7587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6" name="Freeform 5">
                      <a:extLst>
                        <a:ext uri="{FF2B5EF4-FFF2-40B4-BE49-F238E27FC236}">
                          <a16:creationId xmlns:a16="http://schemas.microsoft.com/office/drawing/2014/main" id="{FD90DA6E-C1AC-4F15-EBF8-E15F918FA413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3B7587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77" name="Group 176">
                    <a:extLst>
                      <a:ext uri="{FF2B5EF4-FFF2-40B4-BE49-F238E27FC236}">
                        <a16:creationId xmlns:a16="http://schemas.microsoft.com/office/drawing/2014/main" id="{C16EC5B4-4019-4DF2-4D4A-45338A50B4AD}"/>
                      </a:ext>
                    </a:extLst>
                  </p:cNvPr>
                  <p:cNvGrpSpPr/>
                  <p:nvPr/>
                </p:nvGrpSpPr>
                <p:grpSpPr>
                  <a:xfrm>
                    <a:off x="10017640" y="3840133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93" name="Oval 192">
                      <a:extLst>
                        <a:ext uri="{FF2B5EF4-FFF2-40B4-BE49-F238E27FC236}">
                          <a16:creationId xmlns:a16="http://schemas.microsoft.com/office/drawing/2014/main" id="{F3E729FC-9E1E-CA71-8A8B-3B9A19AB5E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3B7587">
                            <a:lumMod val="60000"/>
                            <a:lumOff val="40000"/>
                          </a:srgbClr>
                        </a:gs>
                        <a:gs pos="60000">
                          <a:srgbClr val="3B7587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4" name="Freeform 5">
                      <a:extLst>
                        <a:ext uri="{FF2B5EF4-FFF2-40B4-BE49-F238E27FC236}">
                          <a16:creationId xmlns:a16="http://schemas.microsoft.com/office/drawing/2014/main" id="{4FEFBB06-246D-2334-D8A8-933A5F6D7DE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3B7587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78" name="Group 177">
                    <a:extLst>
                      <a:ext uri="{FF2B5EF4-FFF2-40B4-BE49-F238E27FC236}">
                        <a16:creationId xmlns:a16="http://schemas.microsoft.com/office/drawing/2014/main" id="{263661AA-424B-E7C8-391F-E41EF9C19805}"/>
                      </a:ext>
                    </a:extLst>
                  </p:cNvPr>
                  <p:cNvGrpSpPr/>
                  <p:nvPr/>
                </p:nvGrpSpPr>
                <p:grpSpPr>
                  <a:xfrm>
                    <a:off x="10041151" y="4073566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91" name="Oval 190">
                      <a:extLst>
                        <a:ext uri="{FF2B5EF4-FFF2-40B4-BE49-F238E27FC236}">
                          <a16:creationId xmlns:a16="http://schemas.microsoft.com/office/drawing/2014/main" id="{E0491D16-9E7D-C2A6-3331-A315E0D039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CEA5CB"/>
                        </a:gs>
                        <a:gs pos="60000">
                          <a:srgbClr val="CEA5CB"/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2" name="Freeform 5">
                      <a:extLst>
                        <a:ext uri="{FF2B5EF4-FFF2-40B4-BE49-F238E27FC236}">
                          <a16:creationId xmlns:a16="http://schemas.microsoft.com/office/drawing/2014/main" id="{76BC30E9-B416-6A0B-FFB1-68214B8FE207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652D9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79" name="Group 178">
                    <a:extLst>
                      <a:ext uri="{FF2B5EF4-FFF2-40B4-BE49-F238E27FC236}">
                        <a16:creationId xmlns:a16="http://schemas.microsoft.com/office/drawing/2014/main" id="{7931B104-AC06-3780-4358-268F3B52FD15}"/>
                      </a:ext>
                    </a:extLst>
                  </p:cNvPr>
                  <p:cNvGrpSpPr/>
                  <p:nvPr/>
                </p:nvGrpSpPr>
                <p:grpSpPr>
                  <a:xfrm>
                    <a:off x="10254432" y="3967766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89" name="Oval 188">
                      <a:extLst>
                        <a:ext uri="{FF2B5EF4-FFF2-40B4-BE49-F238E27FC236}">
                          <a16:creationId xmlns:a16="http://schemas.microsoft.com/office/drawing/2014/main" id="{9C70EA27-E184-B465-11F4-52FD80EC24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5B6770">
                            <a:lumMod val="60000"/>
                            <a:lumOff val="40000"/>
                          </a:srgbClr>
                        </a:gs>
                        <a:gs pos="60000">
                          <a:srgbClr val="5B6770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solidFill>
                        <a:srgbClr val="5B6770">
                          <a:lumMod val="60000"/>
                          <a:lumOff val="40000"/>
                        </a:srgbClr>
                      </a:solidFill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90" name="Freeform 5">
                      <a:extLst>
                        <a:ext uri="{FF2B5EF4-FFF2-40B4-BE49-F238E27FC236}">
                          <a16:creationId xmlns:a16="http://schemas.microsoft.com/office/drawing/2014/main" id="{A024FBA1-BAE7-9B47-1D7C-83A449FF63E8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5B677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80" name="Group 179">
                    <a:extLst>
                      <a:ext uri="{FF2B5EF4-FFF2-40B4-BE49-F238E27FC236}">
                        <a16:creationId xmlns:a16="http://schemas.microsoft.com/office/drawing/2014/main" id="{F33D8DC6-F1FC-F162-ED02-E8749D45837D}"/>
                      </a:ext>
                    </a:extLst>
                  </p:cNvPr>
                  <p:cNvGrpSpPr/>
                  <p:nvPr/>
                </p:nvGrpSpPr>
                <p:grpSpPr>
                  <a:xfrm>
                    <a:off x="10492903" y="3935858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87" name="Oval 186">
                      <a:extLst>
                        <a:ext uri="{FF2B5EF4-FFF2-40B4-BE49-F238E27FC236}">
                          <a16:creationId xmlns:a16="http://schemas.microsoft.com/office/drawing/2014/main" id="{662DA8B7-E36C-83FB-3238-C20FC17B4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CEA5CB"/>
                        </a:gs>
                        <a:gs pos="60000">
                          <a:srgbClr val="CEA5CB"/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solidFill>
                        <a:srgbClr val="B1639D"/>
                      </a:solidFill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88" name="Freeform 5">
                      <a:extLst>
                        <a:ext uri="{FF2B5EF4-FFF2-40B4-BE49-F238E27FC236}">
                          <a16:creationId xmlns:a16="http://schemas.microsoft.com/office/drawing/2014/main" id="{F2AB9084-2C92-4695-DA74-6650FD2B667C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652D9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81" name="Group 180">
                    <a:extLst>
                      <a:ext uri="{FF2B5EF4-FFF2-40B4-BE49-F238E27FC236}">
                        <a16:creationId xmlns:a16="http://schemas.microsoft.com/office/drawing/2014/main" id="{167EE75D-D62D-21A7-E88B-E0CCC8261A93}"/>
                      </a:ext>
                    </a:extLst>
                  </p:cNvPr>
                  <p:cNvGrpSpPr/>
                  <p:nvPr/>
                </p:nvGrpSpPr>
                <p:grpSpPr>
                  <a:xfrm>
                    <a:off x="10645726" y="4090360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85" name="Oval 184">
                      <a:extLst>
                        <a:ext uri="{FF2B5EF4-FFF2-40B4-BE49-F238E27FC236}">
                          <a16:creationId xmlns:a16="http://schemas.microsoft.com/office/drawing/2014/main" id="{AF9126AA-1C6F-5FE1-C076-3AA1490171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5B6770">
                            <a:lumMod val="60000"/>
                            <a:lumOff val="40000"/>
                          </a:srgbClr>
                        </a:gs>
                        <a:gs pos="60000">
                          <a:srgbClr val="5B6770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86" name="Freeform 5">
                      <a:extLst>
                        <a:ext uri="{FF2B5EF4-FFF2-40B4-BE49-F238E27FC236}">
                          <a16:creationId xmlns:a16="http://schemas.microsoft.com/office/drawing/2014/main" id="{4D2E8245-E737-5E19-0F62-81280D2985E5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5B6770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  <p:grpSp>
                <p:nvGrpSpPr>
                  <p:cNvPr id="182" name="Group 181">
                    <a:extLst>
                      <a:ext uri="{FF2B5EF4-FFF2-40B4-BE49-F238E27FC236}">
                        <a16:creationId xmlns:a16="http://schemas.microsoft.com/office/drawing/2014/main" id="{5DBB195F-A852-D6FE-B630-8E980CC8D665}"/>
                      </a:ext>
                    </a:extLst>
                  </p:cNvPr>
                  <p:cNvGrpSpPr/>
                  <p:nvPr/>
                </p:nvGrpSpPr>
                <p:grpSpPr>
                  <a:xfrm>
                    <a:off x="10335042" y="4149138"/>
                    <a:ext cx="217712" cy="166818"/>
                    <a:chOff x="11269980" y="2250440"/>
                    <a:chExt cx="195580" cy="149860"/>
                  </a:xfrm>
                  <a:solidFill>
                    <a:srgbClr val="5B6770"/>
                  </a:solidFill>
                </p:grpSpPr>
                <p:sp>
                  <p:nvSpPr>
                    <p:cNvPr id="183" name="Oval 182">
                      <a:extLst>
                        <a:ext uri="{FF2B5EF4-FFF2-40B4-BE49-F238E27FC236}">
                          <a16:creationId xmlns:a16="http://schemas.microsoft.com/office/drawing/2014/main" id="{1A47963A-7668-10CE-E50E-984E086EB1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9980" y="2250440"/>
                      <a:ext cx="195580" cy="149860"/>
                    </a:xfrm>
                    <a:prstGeom prst="ellipse">
                      <a:avLst/>
                    </a:prstGeom>
                    <a:gradFill flip="none" rotWithShape="1">
                      <a:gsLst>
                        <a:gs pos="0">
                          <a:srgbClr val="FFFFFF"/>
                        </a:gs>
                        <a:gs pos="100000">
                          <a:srgbClr val="3B7587">
                            <a:lumMod val="60000"/>
                            <a:lumOff val="40000"/>
                          </a:srgbClr>
                        </a:gs>
                        <a:gs pos="60000">
                          <a:srgbClr val="3B7587">
                            <a:lumMod val="20000"/>
                            <a:lumOff val="80000"/>
                          </a:srgb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n w="3175" cap="flat" cmpd="sng" algn="ctr">
                      <a:noFill/>
                      <a:prstDash val="solid"/>
                    </a:ln>
                    <a:effectLst/>
                  </p:spPr>
                  <p:txBody>
    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84" name="Freeform 5">
                      <a:extLst>
                        <a:ext uri="{FF2B5EF4-FFF2-40B4-BE49-F238E27FC236}">
                          <a16:creationId xmlns:a16="http://schemas.microsoft.com/office/drawing/2014/main" id="{1B11DB91-355F-85FD-0EDF-87996A76A939}"/>
                        </a:ext>
                      </a:extLst>
                    </p:cNvPr>
                    <p:cNvSpPr>
                      <a:spLocks/>
                    </p:cNvSpPr>
                    <p:nvPr/>
                  </p:nvSpPr>
                  <p:spPr bwMode="auto">
                    <a:xfrm>
                      <a:off x="11301889" y="2287270"/>
                      <a:ext cx="131763" cy="76200"/>
                    </a:xfrm>
                    <a:custGeom>
                      <a:avLst/>
                      <a:gdLst>
                        <a:gd name="T0" fmla="*/ 42 w 44"/>
                        <a:gd name="T1" fmla="*/ 25 h 25"/>
                        <a:gd name="T2" fmla="*/ 10 w 44"/>
                        <a:gd name="T3" fmla="*/ 25 h 25"/>
                        <a:gd name="T4" fmla="*/ 7 w 44"/>
                        <a:gd name="T5" fmla="*/ 22 h 25"/>
                        <a:gd name="T6" fmla="*/ 5 w 44"/>
                        <a:gd name="T7" fmla="*/ 6 h 25"/>
                        <a:gd name="T8" fmla="*/ 3 w 44"/>
                        <a:gd name="T9" fmla="*/ 6 h 25"/>
                        <a:gd name="T10" fmla="*/ 0 w 44"/>
                        <a:gd name="T11" fmla="*/ 3 h 25"/>
                        <a:gd name="T12" fmla="*/ 3 w 44"/>
                        <a:gd name="T13" fmla="*/ 0 h 25"/>
                        <a:gd name="T14" fmla="*/ 37 w 44"/>
                        <a:gd name="T15" fmla="*/ 0 h 25"/>
                        <a:gd name="T16" fmla="*/ 40 w 44"/>
                        <a:gd name="T17" fmla="*/ 3 h 25"/>
                        <a:gd name="T18" fmla="*/ 40 w 44"/>
                        <a:gd name="T19" fmla="*/ 6 h 25"/>
                        <a:gd name="T20" fmla="*/ 37 w 44"/>
                        <a:gd name="T21" fmla="*/ 9 h 25"/>
                        <a:gd name="T22" fmla="*/ 34 w 44"/>
                        <a:gd name="T23" fmla="*/ 6 h 25"/>
                        <a:gd name="T24" fmla="*/ 34 w 44"/>
                        <a:gd name="T25" fmla="*/ 6 h 25"/>
                        <a:gd name="T26" fmla="*/ 10 w 44"/>
                        <a:gd name="T27" fmla="*/ 6 h 25"/>
                        <a:gd name="T28" fmla="*/ 12 w 44"/>
                        <a:gd name="T29" fmla="*/ 19 h 25"/>
                        <a:gd name="T30" fmla="*/ 40 w 44"/>
                        <a:gd name="T31" fmla="*/ 19 h 25"/>
                        <a:gd name="T32" fmla="*/ 42 w 44"/>
                        <a:gd name="T33" fmla="*/ 18 h 25"/>
                        <a:gd name="T34" fmla="*/ 44 w 44"/>
                        <a:gd name="T35" fmla="*/ 21 h 25"/>
                        <a:gd name="T36" fmla="*/ 44 w 44"/>
                        <a:gd name="T37" fmla="*/ 22 h 25"/>
                        <a:gd name="T38" fmla="*/ 42 w 44"/>
                        <a:gd name="T39" fmla="*/ 25 h 25"/>
                      </a:gdLst>
                      <a:ahLst/>
                      <a:cxnLst>
                        <a:cxn ang="0">
                          <a:pos x="T0" y="T1"/>
                        </a:cxn>
                        <a:cxn ang="0">
                          <a:pos x="T2" y="T3"/>
                        </a:cxn>
                        <a:cxn ang="0">
                          <a:pos x="T4" y="T5"/>
                        </a:cxn>
                        <a:cxn ang="0">
                          <a:pos x="T6" y="T7"/>
                        </a:cxn>
                        <a:cxn ang="0">
                          <a:pos x="T8" y="T9"/>
                        </a:cxn>
                        <a:cxn ang="0">
                          <a:pos x="T10" y="T11"/>
                        </a:cxn>
                        <a:cxn ang="0">
                          <a:pos x="T12" y="T13"/>
                        </a:cxn>
                        <a:cxn ang="0">
                          <a:pos x="T14" y="T15"/>
                        </a:cxn>
                        <a:cxn ang="0">
                          <a:pos x="T16" y="T17"/>
                        </a:cxn>
                        <a:cxn ang="0">
                          <a:pos x="T18" y="T19"/>
                        </a:cxn>
                        <a:cxn ang="0">
                          <a:pos x="T20" y="T21"/>
                        </a:cxn>
                        <a:cxn ang="0">
                          <a:pos x="T22" y="T23"/>
                        </a:cxn>
                        <a:cxn ang="0">
                          <a:pos x="T24" y="T25"/>
                        </a:cxn>
                        <a:cxn ang="0">
                          <a:pos x="T26" y="T27"/>
                        </a:cxn>
                        <a:cxn ang="0">
                          <a:pos x="T28" y="T29"/>
                        </a:cxn>
                        <a:cxn ang="0">
                          <a:pos x="T30" y="T31"/>
                        </a:cxn>
                        <a:cxn ang="0">
                          <a:pos x="T32" y="T33"/>
                        </a:cxn>
                        <a:cxn ang="0">
                          <a:pos x="T34" y="T35"/>
                        </a:cxn>
                        <a:cxn ang="0">
                          <a:pos x="T36" y="T37"/>
                        </a:cxn>
                        <a:cxn ang="0">
                          <a:pos x="T38" y="T39"/>
                        </a:cxn>
                      </a:cxnLst>
                      <a:rect l="0" t="0" r="r" b="b"/>
                      <a:pathLst>
                        <a:path w="44" h="25">
                          <a:moveTo>
                            <a:pt x="42" y="25"/>
                          </a:moveTo>
                          <a:cubicBezTo>
                            <a:pt x="10" y="25"/>
                            <a:pt x="10" y="25"/>
                            <a:pt x="10" y="25"/>
                          </a:cubicBezTo>
                          <a:cubicBezTo>
                            <a:pt x="8" y="25"/>
                            <a:pt x="7" y="24"/>
                            <a:pt x="7" y="22"/>
                          </a:cubicBezTo>
                          <a:cubicBezTo>
                            <a:pt x="5" y="6"/>
                            <a:pt x="5" y="6"/>
                            <a:pt x="5" y="6"/>
                          </a:cubicBezTo>
                          <a:cubicBezTo>
                            <a:pt x="3" y="6"/>
                            <a:pt x="3" y="6"/>
                            <a:pt x="3" y="6"/>
                          </a:cubicBezTo>
                          <a:cubicBezTo>
                            <a:pt x="2" y="6"/>
                            <a:pt x="0" y="4"/>
                            <a:pt x="0" y="3"/>
                          </a:cubicBezTo>
                          <a:cubicBezTo>
                            <a:pt x="0" y="1"/>
                            <a:pt x="2" y="0"/>
                            <a:pt x="3" y="0"/>
                          </a:cubicBezTo>
                          <a:cubicBezTo>
                            <a:pt x="37" y="0"/>
                            <a:pt x="37" y="0"/>
                            <a:pt x="37" y="0"/>
                          </a:cubicBezTo>
                          <a:cubicBezTo>
                            <a:pt x="39" y="0"/>
                            <a:pt x="40" y="1"/>
                            <a:pt x="40" y="3"/>
                          </a:cubicBezTo>
                          <a:cubicBezTo>
                            <a:pt x="40" y="6"/>
                            <a:pt x="40" y="6"/>
                            <a:pt x="40" y="6"/>
                          </a:cubicBezTo>
                          <a:cubicBezTo>
                            <a:pt x="40" y="8"/>
                            <a:pt x="39" y="9"/>
                            <a:pt x="37" y="9"/>
                          </a:cubicBezTo>
                          <a:cubicBezTo>
                            <a:pt x="35" y="9"/>
                            <a:pt x="34" y="8"/>
                            <a:pt x="34" y="6"/>
                          </a:cubicBezTo>
                          <a:cubicBezTo>
                            <a:pt x="34" y="6"/>
                            <a:pt x="34" y="6"/>
                            <a:pt x="34" y="6"/>
                          </a:cubicBezTo>
                          <a:cubicBezTo>
                            <a:pt x="10" y="6"/>
                            <a:pt x="10" y="6"/>
                            <a:pt x="10" y="6"/>
                          </a:cubicBezTo>
                          <a:cubicBezTo>
                            <a:pt x="12" y="19"/>
                            <a:pt x="12" y="19"/>
                            <a:pt x="12" y="19"/>
                          </a:cubicBezTo>
                          <a:cubicBezTo>
                            <a:pt x="40" y="19"/>
                            <a:pt x="40" y="19"/>
                            <a:pt x="40" y="19"/>
                          </a:cubicBezTo>
                          <a:cubicBezTo>
                            <a:pt x="40" y="19"/>
                            <a:pt x="41" y="18"/>
                            <a:pt x="42" y="18"/>
                          </a:cubicBezTo>
                          <a:cubicBezTo>
                            <a:pt x="43" y="18"/>
                            <a:pt x="44" y="20"/>
                            <a:pt x="44" y="21"/>
                          </a:cubicBezTo>
                          <a:cubicBezTo>
                            <a:pt x="44" y="22"/>
                            <a:pt x="44" y="22"/>
                            <a:pt x="44" y="22"/>
                          </a:cubicBezTo>
                          <a:cubicBezTo>
                            <a:pt x="44" y="24"/>
                            <a:pt x="43" y="25"/>
                            <a:pt x="42" y="25"/>
                          </a:cubicBezTo>
                          <a:close/>
                        </a:path>
                      </a:pathLst>
                    </a:custGeom>
                    <a:solidFill>
                      <a:srgbClr val="3B7587"/>
                    </a:solidFill>
                    <a:ln>
                      <a:noFill/>
                    </a:ln>
                  </p:spPr>
                  <p:txBody>
                    <a:bodyPr vert="horz" wrap="square" lIns="91440" tIns="45720" rIns="91440" bIns="45720" numCol="1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2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  <p:sp>
              <p:nvSpPr>
                <p:cNvPr id="155" name="TextBox 154">
                  <a:extLst>
                    <a:ext uri="{FF2B5EF4-FFF2-40B4-BE49-F238E27FC236}">
                      <a16:creationId xmlns:a16="http://schemas.microsoft.com/office/drawing/2014/main" id="{6981DC04-E09E-DB04-3491-E0D2B3CD861F}"/>
                    </a:ext>
                  </a:extLst>
                </p:cNvPr>
                <p:cNvSpPr txBox="1"/>
                <p:nvPr/>
              </p:nvSpPr>
              <p:spPr>
                <a:xfrm>
                  <a:off x="5650501" y="4116104"/>
                  <a:ext cx="404542" cy="142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FF</a:t>
                  </a:r>
                </a:p>
              </p:txBody>
            </p:sp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4D57ED4D-A62B-9BCD-3267-4E450BD04FA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5543262" y="4265440"/>
                  <a:ext cx="1260447" cy="0"/>
                </a:xfrm>
                <a:prstGeom prst="line">
                  <a:avLst/>
                </a:prstGeom>
                <a:noFill/>
                <a:ln w="254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906B7108-6A64-B60F-35A0-512571DAE90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761663" y="4222020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58" name="Straight Connector 157">
                  <a:extLst>
                    <a:ext uri="{FF2B5EF4-FFF2-40B4-BE49-F238E27FC236}">
                      <a16:creationId xmlns:a16="http://schemas.microsoft.com/office/drawing/2014/main" id="{640D0CC2-678A-3F7F-FC63-8BF945930A4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807750" y="4222020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0FF145F7-370D-67F5-773A-168E81DAF7C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446668" y="4211036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cxnSp>
              <p:nvCxnSpPr>
                <p:cNvPr id="160" name="Straight Connector 159">
                  <a:extLst>
                    <a:ext uri="{FF2B5EF4-FFF2-40B4-BE49-F238E27FC236}">
                      <a16:creationId xmlns:a16="http://schemas.microsoft.com/office/drawing/2014/main" id="{69343060-3C6A-174B-A189-40B1666AA13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5492754" y="4211036"/>
                  <a:ext cx="96594" cy="96452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2247DEC5-9D23-2FDC-C5B1-21CFBCBE2E8D}"/>
                    </a:ext>
                  </a:extLst>
                </p:cNvPr>
                <p:cNvSpPr/>
                <p:nvPr/>
              </p:nvSpPr>
              <p:spPr>
                <a:xfrm>
                  <a:off x="6062716" y="4191308"/>
                  <a:ext cx="31839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lIns="0" r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1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IS</a:t>
                  </a: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C48FB043-3C65-37D8-610F-6D7E14E95543}"/>
                    </a:ext>
                  </a:extLst>
                </p:cNvPr>
                <p:cNvSpPr/>
                <p:nvPr/>
              </p:nvSpPr>
              <p:spPr>
                <a:xfrm>
                  <a:off x="6414062" y="4191308"/>
                  <a:ext cx="5038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16EA4E40-EB0A-C9D5-DF3E-E89021461CA3}"/>
                    </a:ext>
                  </a:extLst>
                </p:cNvPr>
                <p:cNvSpPr/>
                <p:nvPr/>
              </p:nvSpPr>
              <p:spPr>
                <a:xfrm>
                  <a:off x="6497397" y="4191308"/>
                  <a:ext cx="96593" cy="142392"/>
                </a:xfrm>
                <a:prstGeom prst="rect">
                  <a:avLst/>
                </a:prstGeom>
                <a:solidFill>
                  <a:schemeClr val="accent2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4" name="TextBox 163">
                  <a:extLst>
                    <a:ext uri="{FF2B5EF4-FFF2-40B4-BE49-F238E27FC236}">
                      <a16:creationId xmlns:a16="http://schemas.microsoft.com/office/drawing/2014/main" id="{78929376-EE00-1FF0-CE0A-31BC725ADE67}"/>
                    </a:ext>
                  </a:extLst>
                </p:cNvPr>
                <p:cNvSpPr txBox="1"/>
                <p:nvPr/>
              </p:nvSpPr>
              <p:spPr>
                <a:xfrm>
                  <a:off x="5991339" y="4535787"/>
                  <a:ext cx="1395333" cy="14249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Gene transcription </a:t>
                  </a: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FF</a:t>
                  </a:r>
                </a:p>
              </p:txBody>
            </p:sp>
            <p:sp>
              <p:nvSpPr>
                <p:cNvPr id="165" name="Oval 164">
                  <a:extLst>
                    <a:ext uri="{FF2B5EF4-FFF2-40B4-BE49-F238E27FC236}">
                      <a16:creationId xmlns:a16="http://schemas.microsoft.com/office/drawing/2014/main" id="{78FFF703-E1CA-9C9E-5D1C-BF22E56D8DEB}"/>
                    </a:ext>
                  </a:extLst>
                </p:cNvPr>
                <p:cNvSpPr/>
                <p:nvPr/>
              </p:nvSpPr>
              <p:spPr>
                <a:xfrm>
                  <a:off x="5917539" y="3050623"/>
                  <a:ext cx="512799" cy="512802"/>
                </a:xfrm>
                <a:prstGeom prst="ellipse">
                  <a:avLst/>
                </a:prstGeom>
                <a:solidFill>
                  <a:srgbClr val="3B7587">
                    <a:lumMod val="40000"/>
                    <a:lumOff val="60000"/>
                  </a:srgbClr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6" name="TextBox 165">
                  <a:extLst>
                    <a:ext uri="{FF2B5EF4-FFF2-40B4-BE49-F238E27FC236}">
                      <a16:creationId xmlns:a16="http://schemas.microsoft.com/office/drawing/2014/main" id="{B84F0C44-5ABF-12D0-0A43-25F5E101BC11}"/>
                    </a:ext>
                  </a:extLst>
                </p:cNvPr>
                <p:cNvSpPr txBox="1"/>
                <p:nvPr/>
              </p:nvSpPr>
              <p:spPr>
                <a:xfrm>
                  <a:off x="5931818" y="3195783"/>
                  <a:ext cx="329043" cy="14249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Menin</a:t>
                  </a:r>
                </a:p>
              </p:txBody>
            </p:sp>
            <p:grpSp>
              <p:nvGrpSpPr>
                <p:cNvPr id="167" name="Group 166">
                  <a:extLst>
                    <a:ext uri="{FF2B5EF4-FFF2-40B4-BE49-F238E27FC236}">
                      <a16:creationId xmlns:a16="http://schemas.microsoft.com/office/drawing/2014/main" id="{87217E09-E124-E39B-6DE4-023E8D33DFA2}"/>
                    </a:ext>
                  </a:extLst>
                </p:cNvPr>
                <p:cNvGrpSpPr/>
                <p:nvPr/>
              </p:nvGrpSpPr>
              <p:grpSpPr>
                <a:xfrm>
                  <a:off x="6362227" y="3227802"/>
                  <a:ext cx="126406" cy="156865"/>
                  <a:chOff x="7356715" y="2964158"/>
                  <a:chExt cx="225401" cy="279713"/>
                </a:xfrm>
                <a:effectLst/>
              </p:grpSpPr>
              <p:sp>
                <p:nvSpPr>
                  <p:cNvPr id="172" name="Teardrop 171">
                    <a:extLst>
                      <a:ext uri="{FF2B5EF4-FFF2-40B4-BE49-F238E27FC236}">
                        <a16:creationId xmlns:a16="http://schemas.microsoft.com/office/drawing/2014/main" id="{9D912F51-AA0E-C8B7-52BD-19389C1628FB}"/>
                      </a:ext>
                    </a:extLst>
                  </p:cNvPr>
                  <p:cNvSpPr/>
                  <p:nvPr/>
                </p:nvSpPr>
                <p:spPr>
                  <a:xfrm rot="266667">
                    <a:off x="7356715" y="2964158"/>
                    <a:ext cx="173544" cy="279713"/>
                  </a:xfrm>
                  <a:prstGeom prst="teardrop">
                    <a:avLst>
                      <a:gd name="adj" fmla="val 58662"/>
                    </a:avLst>
                  </a:prstGeom>
                  <a:solidFill>
                    <a:schemeClr val="accent3">
                      <a:lumMod val="40000"/>
                      <a:lumOff val="60000"/>
                    </a:schemeClr>
                  </a:solidFill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73" name="Teardrop 172">
                    <a:extLst>
                      <a:ext uri="{FF2B5EF4-FFF2-40B4-BE49-F238E27FC236}">
                        <a16:creationId xmlns:a16="http://schemas.microsoft.com/office/drawing/2014/main" id="{1CDF35E0-7C71-FF28-BC45-09D682F875A8}"/>
                      </a:ext>
                    </a:extLst>
                  </p:cNvPr>
                  <p:cNvSpPr/>
                  <p:nvPr/>
                </p:nvSpPr>
                <p:spPr>
                  <a:xfrm rot="1335768">
                    <a:off x="7399041" y="2984647"/>
                    <a:ext cx="183075" cy="224487"/>
                  </a:xfrm>
                  <a:prstGeom prst="teardrop">
                    <a:avLst>
                      <a:gd name="adj" fmla="val 58662"/>
                    </a:avLst>
                  </a:prstGeom>
                  <a:solidFill>
                    <a:srgbClr val="ED5C2A"/>
                  </a:solidFill>
                  <a:ln w="9525" cap="flat" cmpd="sng" algn="ctr">
                    <a:solidFill>
                      <a:schemeClr val="accent6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2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</p:grpSp>
            <p:cxnSp>
              <p:nvCxnSpPr>
                <p:cNvPr id="168" name="Straight Connector 167">
                  <a:extLst>
                    <a:ext uri="{FF2B5EF4-FFF2-40B4-BE49-F238E27FC236}">
                      <a16:creationId xmlns:a16="http://schemas.microsoft.com/office/drawing/2014/main" id="{50D06288-761E-5D78-1FB1-D3193BFF9F1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451935" y="3117818"/>
                  <a:ext cx="139503" cy="172604"/>
                </a:xfrm>
                <a:prstGeom prst="line">
                  <a:avLst/>
                </a:prstGeom>
                <a:noFill/>
                <a:ln w="6350" cap="flat" cmpd="sng" algn="ctr">
                  <a:solidFill>
                    <a:sysClr val="windowText" lastClr="000000"/>
                  </a:solidFill>
                  <a:prstDash val="solid"/>
                </a:ln>
                <a:effectLst/>
              </p:spPr>
            </p:cxnSp>
            <p:sp>
              <p:nvSpPr>
                <p:cNvPr id="169" name="Oval 168">
                  <a:extLst>
                    <a:ext uri="{FF2B5EF4-FFF2-40B4-BE49-F238E27FC236}">
                      <a16:creationId xmlns:a16="http://schemas.microsoft.com/office/drawing/2014/main" id="{ACC42824-C04F-58BA-7695-B942FF03B99B}"/>
                    </a:ext>
                  </a:extLst>
                </p:cNvPr>
                <p:cNvSpPr/>
                <p:nvPr/>
              </p:nvSpPr>
              <p:spPr>
                <a:xfrm>
                  <a:off x="6968671" y="3134298"/>
                  <a:ext cx="721183" cy="242133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0" name="Oval 169">
                  <a:extLst>
                    <a:ext uri="{FF2B5EF4-FFF2-40B4-BE49-F238E27FC236}">
                      <a16:creationId xmlns:a16="http://schemas.microsoft.com/office/drawing/2014/main" id="{D99081CF-6FFB-EE71-52F7-764A9CE3E9A4}"/>
                    </a:ext>
                  </a:extLst>
                </p:cNvPr>
                <p:cNvSpPr/>
                <p:nvPr/>
              </p:nvSpPr>
              <p:spPr>
                <a:xfrm>
                  <a:off x="6922223" y="3181472"/>
                  <a:ext cx="139503" cy="147784"/>
                </a:xfrm>
                <a:prstGeom prst="ellipse">
                  <a:avLst/>
                </a:prstGeom>
                <a:solidFill>
                  <a:srgbClr val="3B7587"/>
                </a:solidFill>
                <a:ln w="9525" cap="flat" cmpd="sng" algn="ctr">
                  <a:solidFill>
                    <a:srgbClr val="3B7587">
                      <a:shade val="95000"/>
                      <a:satMod val="105000"/>
                    </a:srgbClr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71" name="TextBox 170">
                  <a:extLst>
                    <a:ext uri="{FF2B5EF4-FFF2-40B4-BE49-F238E27FC236}">
                      <a16:creationId xmlns:a16="http://schemas.microsoft.com/office/drawing/2014/main" id="{09823935-DEC3-A60A-A3D0-756D9DE86863}"/>
                    </a:ext>
                  </a:extLst>
                </p:cNvPr>
                <p:cNvSpPr txBox="1"/>
                <p:nvPr/>
              </p:nvSpPr>
              <p:spPr>
                <a:xfrm>
                  <a:off x="7051184" y="3144124"/>
                  <a:ext cx="409726" cy="142495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0" i="1" u="none" strike="noStrike" kern="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KMT2Ar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73467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01A781-EEEB-3D48-BA44-BC75FD3650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</p:spPr>
        <p:txBody>
          <a:bodyPr/>
          <a:lstStyle/>
          <a:p>
            <a:r>
              <a:rPr lang="en-US" dirty="0">
                <a:latin typeface="Arial Narrow" panose="020B0606020202030204" pitchFamily="34" charset="0"/>
              </a:rPr>
              <a:t>Overview of Menin Inhibitors in Development for AM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9C1614-34A8-C54D-8C88-132CB5F32E8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5892969"/>
            <a:ext cx="12191999" cy="786163"/>
          </a:xfrm>
        </p:spPr>
        <p:txBody>
          <a:bodyPr/>
          <a:lstStyle/>
          <a:p>
            <a:r>
              <a:rPr lang="en-US" dirty="0"/>
              <a:t>.</a:t>
            </a:r>
          </a:p>
          <a:p>
            <a:r>
              <a:rPr lang="en-US" dirty="0"/>
              <a:t>1. Issa GC, et al. Blood. 2022;140: Abstract 63; 2. </a:t>
            </a:r>
            <a:r>
              <a:rPr lang="en-US" dirty="0" err="1"/>
              <a:t>Erba</a:t>
            </a:r>
            <a:r>
              <a:rPr lang="en-US" dirty="0"/>
              <a:t> HP, et al. Blood. 2022;140: Abstract 64; 3. Clinicaltrials.gov. Accessed August 31, 2023. https://clinicaltrials.gov/ct2/show/NCT05153330; 4. Clinicaltrials.gov. Accessed August 31, 2023. https://clinicaltrials.gov/ct2/show/ NCT04752163; 5. Daver N, et al. Blood. 2022;140: Poster 1460; 6. Kwon MC, et al. Blood. 2022;140: Poster 2637.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75C26138-65AB-1240-9833-A4D0C69B94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3969324"/>
              </p:ext>
            </p:extLst>
          </p:nvPr>
        </p:nvGraphicFramePr>
        <p:xfrm>
          <a:off x="483419" y="1404485"/>
          <a:ext cx="11225160" cy="4373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3602">
                  <a:extLst>
                    <a:ext uri="{9D8B030D-6E8A-4147-A177-3AD203B41FA5}">
                      <a16:colId xmlns:a16="http://schemas.microsoft.com/office/drawing/2014/main" val="3044419009"/>
                    </a:ext>
                  </a:extLst>
                </a:gridCol>
                <a:gridCol w="1720933">
                  <a:extLst>
                    <a:ext uri="{9D8B030D-6E8A-4147-A177-3AD203B41FA5}">
                      <a16:colId xmlns:a16="http://schemas.microsoft.com/office/drawing/2014/main" val="4272335187"/>
                    </a:ext>
                  </a:extLst>
                </a:gridCol>
                <a:gridCol w="1196033">
                  <a:extLst>
                    <a:ext uri="{9D8B030D-6E8A-4147-A177-3AD203B41FA5}">
                      <a16:colId xmlns:a16="http://schemas.microsoft.com/office/drawing/2014/main" val="3555891862"/>
                    </a:ext>
                  </a:extLst>
                </a:gridCol>
                <a:gridCol w="3041187">
                  <a:extLst>
                    <a:ext uri="{9D8B030D-6E8A-4147-A177-3AD203B41FA5}">
                      <a16:colId xmlns:a16="http://schemas.microsoft.com/office/drawing/2014/main" val="313537159"/>
                    </a:ext>
                  </a:extLst>
                </a:gridCol>
                <a:gridCol w="2633405">
                  <a:extLst>
                    <a:ext uri="{9D8B030D-6E8A-4147-A177-3AD203B41FA5}">
                      <a16:colId xmlns:a16="http://schemas.microsoft.com/office/drawing/2014/main" val="1527881171"/>
                    </a:ext>
                  </a:extLst>
                </a:gridCol>
              </a:tblGrid>
              <a:tr h="640080">
                <a:tc>
                  <a:txBody>
                    <a:bodyPr/>
                    <a:lstStyle/>
                    <a:p>
                      <a:pPr algn="l"/>
                      <a:r>
                        <a:rPr lang="en-US" sz="1800" b="0" dirty="0">
                          <a:latin typeface="+mj-lt"/>
                        </a:rPr>
                        <a:t>Agent (Former Name)</a:t>
                      </a:r>
                    </a:p>
                    <a:p>
                      <a:pPr algn="l"/>
                      <a:r>
                        <a:rPr lang="en-US" sz="1800" b="0" dirty="0">
                          <a:latin typeface="+mj-lt"/>
                        </a:rPr>
                        <a:t>Route of Administration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+mj-lt"/>
                        </a:rPr>
                        <a:t>NCT Identifier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>
                          <a:latin typeface="+mj-lt"/>
                        </a:rPr>
                        <a:t>(Trial Name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+mj-lt"/>
                        </a:rPr>
                        <a:t>Study Phase (n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+mj-lt"/>
                        </a:rPr>
                        <a:t>Phase 1/ 2 Expansion Cohorts for R/R Disease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latin typeface="+mj-lt"/>
                        </a:rPr>
                        <a:t>Current Statu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9581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vumenib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SNDX-5613)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1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 BID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4065399</a:t>
                      </a:r>
                    </a:p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AUGMENT-101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 </a:t>
                      </a:r>
                    </a:p>
                    <a:p>
                      <a:pPr algn="ctr"/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186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or MPA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500" i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expansion (10 sites)</a:t>
                      </a:r>
                    </a:p>
                    <a:p>
                      <a:pPr algn="ctr"/>
                      <a:r>
                        <a:rPr lang="en-US" sz="15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DA breakthrough</a:t>
                      </a:r>
                      <a:endParaRPr lang="en-US" sz="1500" b="1" i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5463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iftomenib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KO-539)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2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 QD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4067336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KOMET-001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/2</a:t>
                      </a:r>
                    </a:p>
                    <a:p>
                      <a:pPr algn="ctr"/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199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500" i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endParaRPr lang="en-US" sz="150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uiting (25 sites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69768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MF-219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3]</a:t>
                      </a:r>
                    </a:p>
                    <a:p>
                      <a:pPr algn="l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5153330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 </a:t>
                      </a:r>
                    </a:p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177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/ALL/MPAL, DLBCL, and MM/PCD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uiting (6 sites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7892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1594b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4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 BID 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4752163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/2</a:t>
                      </a:r>
                    </a:p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20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/ALL with </a:t>
                      </a:r>
                      <a:r>
                        <a:rPr lang="en-US" sz="1500" b="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500" i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endParaRPr lang="en-US" sz="1500" b="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tive (1 site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87526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SP-5336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5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 QD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4988555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/2</a:t>
                      </a:r>
                    </a:p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70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/R AML, R/R ALL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2: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500" i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en-US" sz="1500" b="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endParaRPr lang="en-US" sz="1500" b="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uiting (6 sites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8514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500" b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NJ-75276617</a:t>
                      </a:r>
                      <a:r>
                        <a:rPr lang="en-US" sz="1500" b="0" baseline="300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6]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 QD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CT04811560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 </a:t>
                      </a:r>
                    </a:p>
                    <a:p>
                      <a:pPr algn="ctr"/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110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/ALL with </a:t>
                      </a:r>
                      <a:r>
                        <a:rPr lang="en-US" sz="1500" b="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MT2A</a:t>
                      </a: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500" b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ML with </a:t>
                      </a:r>
                      <a:r>
                        <a:rPr lang="en-US" sz="1500" i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M1</a:t>
                      </a:r>
                      <a:r>
                        <a:rPr lang="en-US" sz="1500" i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endParaRPr lang="en-US" sz="1500" b="0" i="1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ruiting (27 sites)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759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44055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6E5D9-430B-90D8-3671-4601D3C52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n-US" sz="3467" dirty="0">
                <a:latin typeface="Arial Narrow" panose="020B0606020202030204" pitchFamily="34" charset="0"/>
                <a:cs typeface="Arial" panose="020B0604020202020204" pitchFamily="34" charset="0"/>
              </a:rPr>
              <a:t>Comparing RATIFY and </a:t>
            </a:r>
            <a:r>
              <a:rPr lang="en-US" sz="3467" dirty="0" err="1">
                <a:latin typeface="Arial Narrow" panose="020B0606020202030204" pitchFamily="34" charset="0"/>
                <a:cs typeface="Arial" panose="020B0604020202020204" pitchFamily="34" charset="0"/>
              </a:rPr>
              <a:t>QuANTUM</a:t>
            </a:r>
            <a:r>
              <a:rPr lang="en-US" sz="3467" dirty="0">
                <a:latin typeface="Arial Narrow" panose="020B0606020202030204" pitchFamily="34" charset="0"/>
                <a:cs typeface="Arial" panose="020B0604020202020204" pitchFamily="34" charset="0"/>
              </a:rPr>
              <a:t>-First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64B87A-8D92-961D-9105-F25AB5F855D2}"/>
              </a:ext>
            </a:extLst>
          </p:cNvPr>
          <p:cNvSpPr txBox="1"/>
          <p:nvPr/>
        </p:nvSpPr>
        <p:spPr>
          <a:xfrm>
            <a:off x="7442261" y="6120689"/>
            <a:ext cx="442315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 defTabSz="685783">
              <a:defRPr/>
            </a:pP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tone RM, et al. </a:t>
            </a:r>
            <a:r>
              <a:rPr lang="en-US" sz="1200" i="1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N </a:t>
            </a:r>
            <a:r>
              <a:rPr lang="en-US" sz="1200" i="1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ngl</a:t>
            </a:r>
            <a:r>
              <a:rPr lang="en-US" sz="1200" i="1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J Med. 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2017 Aug 3;377(5):454-464</a:t>
            </a:r>
          </a:p>
          <a:p>
            <a:pPr algn="r" defTabSz="914377">
              <a:defRPr/>
            </a:pPr>
            <a:r>
              <a:rPr lang="en-US" sz="12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Erba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HP, et al. </a:t>
            </a:r>
            <a:r>
              <a:rPr lang="en-US" sz="1200" i="1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Lancet</a:t>
            </a:r>
            <a:r>
              <a:rPr lang="en-US" sz="12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. 2023 May 13;401(10388):1571-1583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E09BC07-7BA7-C232-8A3B-1CB1A7E7D611}"/>
              </a:ext>
            </a:extLst>
          </p:cNvPr>
          <p:cNvSpPr txBox="1">
            <a:spLocks/>
          </p:cNvSpPr>
          <p:nvPr/>
        </p:nvSpPr>
        <p:spPr>
          <a:xfrm>
            <a:off x="218293" y="5238335"/>
            <a:ext cx="5722867" cy="1141693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defTabSz="914377">
              <a:defRPr/>
            </a:pPr>
            <a:r>
              <a:rPr lang="en-US" sz="15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60-day mortality: not reported</a:t>
            </a:r>
          </a:p>
          <a:p>
            <a:pPr marL="228594" indent="-228594" defTabSz="914377">
              <a:defRPr/>
            </a:pPr>
            <a:endParaRPr lang="en-US" sz="1600" dirty="0">
              <a:solidFill>
                <a:prstClr val="black"/>
              </a:solidFill>
              <a:latin typeface="Calibri" panose="020F0502020204030204"/>
              <a:ea typeface="ＭＳ Ｐゴシック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0C3ACB-3889-0037-941B-53A74EFDB9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1638" y="2141331"/>
            <a:ext cx="4614501" cy="296201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E6AE9A1-38ED-CE45-97D6-17B91FBED82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3971" y="2201703"/>
            <a:ext cx="5491919" cy="2962011"/>
          </a:xfrm>
          <a:prstGeom prst="rect">
            <a:avLst/>
          </a:prstGeom>
        </p:spPr>
      </p:pic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FEEE8F63-140E-494E-9AFD-52A3C09961FB}"/>
              </a:ext>
            </a:extLst>
          </p:cNvPr>
          <p:cNvSpPr txBox="1">
            <a:spLocks/>
          </p:cNvSpPr>
          <p:nvPr/>
        </p:nvSpPr>
        <p:spPr>
          <a:xfrm>
            <a:off x="5525285" y="5206274"/>
            <a:ext cx="6666715" cy="1191295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indent="-228594"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60-day mortality: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quizartinib</a:t>
            </a:r>
            <a:r>
              <a:rPr lang="en-US" sz="16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 7.5%, placebo 4.9% (mostly infections)</a:t>
            </a:r>
          </a:p>
          <a:p>
            <a:pPr marL="228594" indent="-228594" defTabSz="914377">
              <a:defRPr/>
            </a:pPr>
            <a:r>
              <a:rPr lang="en-US" sz="16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ANC recovery was 7 days longer in quiz arm; platelets 2 days longer in quiz arm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FFD114F-B250-3D8A-AC36-13D081EEF16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83870" y="1161628"/>
            <a:ext cx="2167409" cy="1072759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86BD926-A9F7-2FA8-0219-F710A8A34B3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44236" y="1106134"/>
            <a:ext cx="3316792" cy="107275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A99587-7652-7DAF-BDCD-ADA345938BA3}"/>
              </a:ext>
            </a:extLst>
          </p:cNvPr>
          <p:cNvSpPr txBox="1"/>
          <p:nvPr/>
        </p:nvSpPr>
        <p:spPr>
          <a:xfrm>
            <a:off x="3079728" y="2802346"/>
            <a:ext cx="841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HR: 0.78 </a:t>
            </a:r>
          </a:p>
        </p:txBody>
      </p:sp>
    </p:spTree>
    <p:extLst>
      <p:ext uri="{BB962C8B-B14F-4D97-AF65-F5344CB8AC3E}">
        <p14:creationId xmlns:p14="http://schemas.microsoft.com/office/powerpoint/2010/main" val="16789372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8" y="132515"/>
            <a:ext cx="10752667" cy="828675"/>
          </a:xfrm>
        </p:spPr>
        <p:txBody>
          <a:bodyPr>
            <a:noAutofit/>
          </a:bodyPr>
          <a:lstStyle/>
          <a:p>
            <a:r>
              <a:rPr lang="en-US" sz="3200" dirty="0">
                <a:latin typeface="Arial Narrow" panose="020B0606020202030204" pitchFamily="34" charset="0"/>
              </a:rPr>
              <a:t>Phase 1/2 KOMET-001 Study</a:t>
            </a:r>
            <a:br>
              <a:rPr lang="en-US" sz="3200" dirty="0">
                <a:latin typeface="Arial Narrow" panose="020B0606020202030204" pitchFamily="34" charset="0"/>
              </a:rPr>
            </a:br>
            <a:r>
              <a:rPr lang="en-US" sz="2800" i="1" dirty="0" err="1">
                <a:latin typeface="Arial Narrow" panose="020B0606020202030204" pitchFamily="34" charset="0"/>
              </a:rPr>
              <a:t>Ziftomenib</a:t>
            </a:r>
            <a:r>
              <a:rPr lang="en-US" sz="2800" i="1" dirty="0">
                <a:latin typeface="Arial Narrow" panose="020B0606020202030204" pitchFamily="34" charset="0"/>
              </a:rPr>
              <a:t> (KO-539) in Adults With </a:t>
            </a:r>
            <a:r>
              <a:rPr lang="en-US" sz="2800" dirty="0">
                <a:latin typeface="Arial Narrow" panose="020B0606020202030204" pitchFamily="34" charset="0"/>
              </a:rPr>
              <a:t>NPM1</a:t>
            </a:r>
            <a:r>
              <a:rPr lang="en-US" sz="2800" i="1" dirty="0">
                <a:latin typeface="Arial Narrow" panose="020B0606020202030204" pitchFamily="34" charset="0"/>
              </a:rPr>
              <a:t>-Mutated AML  </a:t>
            </a:r>
            <a:endParaRPr lang="en-US" sz="3200" i="1" dirty="0">
              <a:latin typeface="Arial Narrow" panose="020B0606020202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BEB4BD-8BF9-A851-A578-0C340214BA1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6400800"/>
            <a:ext cx="12191999" cy="278332"/>
          </a:xfrm>
        </p:spPr>
        <p:txBody>
          <a:bodyPr/>
          <a:lstStyle/>
          <a:p>
            <a:r>
              <a:rPr lang="en-US" dirty="0"/>
              <a:t>Fathi AT, et al. </a:t>
            </a:r>
            <a:r>
              <a:rPr lang="en-US" dirty="0" err="1"/>
              <a:t>HemaSphere</a:t>
            </a:r>
            <a:r>
              <a:rPr lang="en-US" dirty="0"/>
              <a:t>. 2023;7(S3): EHA Abstract LB2713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2257AD-2232-4A76-8A52-5C59E3BF8558}"/>
              </a:ext>
            </a:extLst>
          </p:cNvPr>
          <p:cNvSpPr txBox="1"/>
          <p:nvPr/>
        </p:nvSpPr>
        <p:spPr>
          <a:xfrm>
            <a:off x="10135402" y="6419014"/>
            <a:ext cx="1930030" cy="4031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1303235C-0EA2-7CDB-8680-28B4DF829AA5}"/>
              </a:ext>
            </a:extLst>
          </p:cNvPr>
          <p:cNvGraphicFramePr>
            <a:graphicFrameLocks/>
          </p:cNvGraphicFramePr>
          <p:nvPr/>
        </p:nvGraphicFramePr>
        <p:xfrm>
          <a:off x="545571" y="1418146"/>
          <a:ext cx="4844577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34088">
                  <a:extLst>
                    <a:ext uri="{9D8B030D-6E8A-4147-A177-3AD203B41FA5}">
                      <a16:colId xmlns:a16="http://schemas.microsoft.com/office/drawing/2014/main" val="2079403049"/>
                    </a:ext>
                  </a:extLst>
                </a:gridCol>
                <a:gridCol w="1610489">
                  <a:extLst>
                    <a:ext uri="{9D8B030D-6E8A-4147-A177-3AD203B41FA5}">
                      <a16:colId xmlns:a16="http://schemas.microsoft.com/office/drawing/2014/main" val="25690318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800" b="0">
                          <a:latin typeface="+mj-lt"/>
                          <a:cs typeface="Arial"/>
                        </a:rPr>
                        <a:t>Best Overall Response, n (%)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>
                          <a:effectLst/>
                          <a:latin typeface="+mj-lt"/>
                          <a:cs typeface="Arial"/>
                        </a:rPr>
                        <a:t>600 mg (n = 20)</a:t>
                      </a:r>
                    </a:p>
                  </a:txBody>
                  <a:tcPr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311469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ORR </a:t>
                      </a:r>
                      <a:r>
                        <a:rPr lang="en-US" sz="1600" b="0" ker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(CR + </a:t>
                      </a:r>
                      <a:r>
                        <a:rPr lang="en-US" sz="1600" b="0" kern="0" err="1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CRh</a:t>
                      </a:r>
                      <a:r>
                        <a:rPr lang="en-US" sz="1600" b="0" ker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 + CRi + MLFS)​ </a:t>
                      </a:r>
                      <a:endParaRPr lang="en-US" sz="1600" b="0" kern="10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9 (45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1731757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25374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Rc</a:t>
                      </a:r>
                      <a:r>
                        <a:rPr kumimoji="0" lang="en-US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(CR + </a:t>
                      </a:r>
                      <a:r>
                        <a:rPr kumimoji="0" lang="en-US" sz="1600" b="1" i="0" u="none" strike="noStrike" kern="0" cap="none" spc="0" normalizeH="0" baseline="0" noProof="0" err="1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CRh</a:t>
                      </a:r>
                      <a:r>
                        <a:rPr kumimoji="0" lang="en-US" sz="1600" b="1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accent6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/>
                        </a:rPr>
                        <a:t> + CRi) ​</a:t>
                      </a:r>
                      <a:endParaRPr kumimoji="0" lang="en-US" sz="1600" b="1" i="0" u="none" strike="noStrike" kern="100" cap="none" spc="0" normalizeH="0" baseline="0" noProof="0">
                        <a:ln>
                          <a:noFill/>
                        </a:ln>
                        <a:solidFill>
                          <a:schemeClr val="accent6"/>
                        </a:solidFill>
                        <a:effectLst/>
                        <a:uLnTx/>
                        <a:uFillTx/>
                        <a:latin typeface="+mn-lt"/>
                        <a:ea typeface="Calibri" panose="020F0502020204030204" pitchFamily="34" charset="0"/>
                        <a:cs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1">
                          <a:solidFill>
                            <a:schemeClr val="accent6"/>
                          </a:solidFill>
                          <a:effectLst/>
                          <a:latin typeface="+mn-lt"/>
                          <a:cs typeface="Arial"/>
                        </a:rPr>
                        <a:t>8 (40)</a:t>
                      </a:r>
                      <a:endParaRPr lang="en-US" sz="1600" b="1" baseline="0">
                        <a:solidFill>
                          <a:schemeClr val="accent6"/>
                        </a:solidFill>
                        <a:effectLst/>
                        <a:latin typeface="+mn-lt"/>
                        <a:cs typeface="Arial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93926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lv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kern="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/>
                        </a:rPr>
                        <a:t>    CR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7 (35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92200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/>
                        </a:rPr>
                        <a:t>    CRh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0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149084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/>
                        </a:rPr>
                        <a:t>    CRi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 (5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31811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kern="10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Arial"/>
                        </a:rPr>
                        <a:t>MLFS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b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/>
                        </a:rPr>
                        <a:t>1 (5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4644161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5905D55-9A07-D723-9E97-B242A7A22C8D}"/>
              </a:ext>
            </a:extLst>
          </p:cNvPr>
          <p:cNvSpPr txBox="1"/>
          <p:nvPr/>
        </p:nvSpPr>
        <p:spPr>
          <a:xfrm>
            <a:off x="557673" y="4538324"/>
            <a:ext cx="4832475" cy="156357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</p:spPr>
        <p:txBody>
          <a:bodyPr wrap="square" lIns="91440" tIns="45720" rIns="91440" bIns="45720" anchor="t">
            <a:spAutoFit/>
          </a:bodyPr>
          <a:lstStyle/>
          <a:p>
            <a:pPr marL="342900" marR="0" lvl="0" indent="-342900" algn="l" defTabSz="457200" rtl="0" eaLnBrk="1" fontAlgn="ctr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edian time to first response =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51 d</a:t>
            </a:r>
          </a:p>
          <a:p>
            <a:pPr marL="342900" marR="0" lvl="0" indent="-342900" algn="l" defTabSz="457200" rtl="0" eaLnBrk="1" fontAlgn="ctr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edi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Do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censored at time of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allo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HSCT =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5.6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o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(95% CI: 1.0, NE)</a:t>
            </a:r>
          </a:p>
          <a:p>
            <a:pPr marL="342900" marR="0" lvl="0" indent="-342900" algn="l" defTabSz="457200" rtl="0" eaLnBrk="1" fontAlgn="ctr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>
                <a:srgbClr val="FD8831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edian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DoR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not censored at time of HSCT =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8.2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mo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Calibri" panose="020F0502020204030204" pitchFamily="34" charset="0"/>
                <a:cs typeface="Calibri" panose="020F0502020204030204" pitchFamily="34" charset="0"/>
              </a:rPr>
              <a:t>(95% CI: 1.0, NE)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BF312C-82A7-B926-1CF7-4D0B3D5A88BC}"/>
              </a:ext>
            </a:extLst>
          </p:cNvPr>
          <p:cNvSpPr txBox="1"/>
          <p:nvPr/>
        </p:nvSpPr>
        <p:spPr>
          <a:xfrm>
            <a:off x="6006164" y="4554141"/>
            <a:ext cx="5466171" cy="1661993"/>
          </a:xfrm>
          <a:prstGeom prst="rect">
            <a:avLst/>
          </a:prstGeom>
          <a:solidFill>
            <a:srgbClr val="FDF1F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fety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9C130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st frequent grade 3+ TEAE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re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emia (25%) and thrombocytopenia (20%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C130C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fferentiation syndrome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ccurred in 20% of patients; most were grade 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0C8B705-1C11-0DEF-0F5C-89D4E6633AF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03"/>
          <a:stretch/>
        </p:blipFill>
        <p:spPr>
          <a:xfrm>
            <a:off x="5928403" y="1665458"/>
            <a:ext cx="5596684" cy="279635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1621035-AC71-EDC6-CB1A-54746BF12F16}"/>
              </a:ext>
            </a:extLst>
          </p:cNvPr>
          <p:cNvSpPr txBox="1"/>
          <p:nvPr/>
        </p:nvSpPr>
        <p:spPr>
          <a:xfrm>
            <a:off x="5746281" y="1260096"/>
            <a:ext cx="6126645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9C130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an Change in Platelets and ANC for </a:t>
            </a:r>
            <a:r>
              <a:rPr kumimoji="0" lang="en-US" sz="1700" b="1" i="0" u="none" strike="noStrike" kern="1200" cap="none" spc="0" normalizeH="0" baseline="0" noProof="0" err="1">
                <a:ln>
                  <a:noFill/>
                </a:ln>
                <a:solidFill>
                  <a:srgbClr val="9C130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</a:t>
            </a:r>
            <a:r>
              <a:rPr kumimoji="0" lang="en-US" sz="1700" b="1" i="0" u="none" strike="noStrike" kern="1200" cap="none" spc="0" normalizeH="0" baseline="0" noProof="0">
                <a:ln>
                  <a:noFill/>
                </a:ln>
                <a:solidFill>
                  <a:srgbClr val="9C130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up to C7D1</a:t>
            </a:r>
          </a:p>
        </p:txBody>
      </p:sp>
    </p:spTree>
    <p:extLst>
      <p:ext uri="{BB962C8B-B14F-4D97-AF65-F5344CB8AC3E}">
        <p14:creationId xmlns:p14="http://schemas.microsoft.com/office/powerpoint/2010/main" val="155106217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A72A0A-279D-473F-B229-0EA5E3E74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4631" y="6387133"/>
            <a:ext cx="274320" cy="3142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4572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EC47FE-8A01-4867-B742-54144C5B6A6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8626C269-C58C-AD15-4829-223540163671}"/>
              </a:ext>
            </a:extLst>
          </p:cNvPr>
          <p:cNvSpPr txBox="1">
            <a:spLocks/>
          </p:cNvSpPr>
          <p:nvPr/>
        </p:nvSpPr>
        <p:spPr>
          <a:xfrm>
            <a:off x="33524" y="6580522"/>
            <a:ext cx="1939445" cy="347042"/>
          </a:xfrm>
          <a:prstGeom prst="rect">
            <a:avLst/>
          </a:prstGeom>
        </p:spPr>
        <p:txBody>
          <a:bodyPr vert="horz" lIns="90000" tIns="0" rIns="9000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lnSpc>
                <a:spcPct val="100000"/>
              </a:lnSpc>
              <a:spcAft>
                <a:spcPts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ut-off date: October 25, 202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18B1B2DB-D60B-D3BB-7963-AD9972E8BDA5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UGMENT-101: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evumenib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Monotherapy for R/R KMT2A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D8FA82-FA18-00B9-414F-3CB844BF26A0}"/>
              </a:ext>
            </a:extLst>
          </p:cNvPr>
          <p:cNvSpPr txBox="1"/>
          <p:nvPr/>
        </p:nvSpPr>
        <p:spPr>
          <a:xfrm>
            <a:off x="9533887" y="6321548"/>
            <a:ext cx="2287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doss I ASH LBA#5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50B276A-E21D-7680-143C-536FA183B5F8}"/>
              </a:ext>
            </a:extLst>
          </p:cNvPr>
          <p:cNvGrpSpPr/>
          <p:nvPr/>
        </p:nvGrpSpPr>
        <p:grpSpPr>
          <a:xfrm>
            <a:off x="1649633" y="1299401"/>
            <a:ext cx="8246746" cy="2803631"/>
            <a:chOff x="508000" y="1366983"/>
            <a:chExt cx="8476353" cy="2803631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71FA22F1-A75D-99EA-D418-655A81451C79}"/>
                </a:ext>
              </a:extLst>
            </p:cNvPr>
            <p:cNvSpPr/>
            <p:nvPr/>
          </p:nvSpPr>
          <p:spPr>
            <a:xfrm>
              <a:off x="508000" y="1417009"/>
              <a:ext cx="1592726" cy="2729635"/>
            </a:xfrm>
            <a:prstGeom prst="roundRect">
              <a:avLst>
                <a:gd name="adj" fmla="val 5430"/>
              </a:avLst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atients aged </a:t>
              </a:r>
              <a:b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≥30 days with R/R acute leukemia 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30AD59A3-A337-0A17-B1B2-4D734FC21190}"/>
                </a:ext>
              </a:extLst>
            </p:cNvPr>
            <p:cNvSpPr/>
            <p:nvPr/>
          </p:nvSpPr>
          <p:spPr>
            <a:xfrm>
              <a:off x="2384764" y="2270498"/>
              <a:ext cx="4092948" cy="844496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1" u="none" strike="noStrike" kern="1200" cap="none" spc="0" normalizeH="0" baseline="0" noProof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KMT2Ar</a:t>
              </a:r>
              <a:r>
                <a:rPr kumimoji="0" lang="en-US" sz="2000" b="1" i="0" u="none" strike="noStrike" kern="1200" cap="none" spc="0" normalizeH="0" baseline="0" noProof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cute leukemia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3873D131-3690-7085-36FB-A101A417D51C}"/>
                </a:ext>
              </a:extLst>
            </p:cNvPr>
            <p:cNvCxnSpPr>
              <a:cxnSpLocks/>
              <a:endCxn id="10" idx="1"/>
            </p:cNvCxnSpPr>
            <p:nvPr/>
          </p:nvCxnSpPr>
          <p:spPr>
            <a:xfrm>
              <a:off x="2129422" y="2692746"/>
              <a:ext cx="25534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2AC4BC9B-C239-580C-A7C1-0569E3E37161}"/>
                </a:ext>
              </a:extLst>
            </p:cNvPr>
            <p:cNvSpPr/>
            <p:nvPr/>
          </p:nvSpPr>
          <p:spPr>
            <a:xfrm>
              <a:off x="2384764" y="3326117"/>
              <a:ext cx="4092948" cy="844496"/>
            </a:xfrm>
            <a:prstGeom prst="roundRect">
              <a:avLst/>
            </a:prstGeom>
            <a:solidFill>
              <a:schemeClr val="bg1">
                <a:lumMod val="75000"/>
              </a:schemeClr>
            </a:solidFill>
            <a:ln>
              <a:prstDash val="sys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1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PM1m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AML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3816ECA8-257F-7564-FEDC-047321165522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>
              <a:off x="2129422" y="3748365"/>
              <a:ext cx="25534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4C54275-1722-CC59-6596-C62F6FC1FF1E}"/>
                </a:ext>
              </a:extLst>
            </p:cNvPr>
            <p:cNvSpPr txBox="1"/>
            <p:nvPr/>
          </p:nvSpPr>
          <p:spPr>
            <a:xfrm>
              <a:off x="3384416" y="3939782"/>
              <a:ext cx="230704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ll enrolling, not included in this analysis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4A31B415-EF83-8774-3302-EF396043C13A}"/>
                </a:ext>
              </a:extLst>
            </p:cNvPr>
            <p:cNvSpPr/>
            <p:nvPr/>
          </p:nvSpPr>
          <p:spPr>
            <a:xfrm>
              <a:off x="6633055" y="1417009"/>
              <a:ext cx="2351298" cy="2753604"/>
            </a:xfrm>
            <a:prstGeom prst="roundRect">
              <a:avLst>
                <a:gd name="adj" fmla="val 5130"/>
              </a:avLst>
            </a:prstGeom>
            <a:solidFill>
              <a:schemeClr val="tx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imary endpoint</a:t>
              </a:r>
            </a:p>
            <a:p>
              <a:pPr marL="548640" marR="0" lvl="1" indent="-18288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+CRh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rate*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ey secondary efficacy endpoints</a:t>
              </a:r>
            </a:p>
            <a:p>
              <a:pPr marL="548640" marR="0" lvl="1" indent="-18288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Rc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</a:p>
            <a:p>
              <a:pPr marL="548640" marR="0" lvl="1" indent="-18288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–"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RR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 planned interim analysis of patients with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KMT2Ar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cute leukemia was conducted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706CCD1-A6F8-E96E-3CD1-91CA6ABA8F7B}"/>
                </a:ext>
              </a:extLst>
            </p:cNvPr>
            <p:cNvSpPr txBox="1"/>
            <p:nvPr/>
          </p:nvSpPr>
          <p:spPr>
            <a:xfrm>
              <a:off x="2059344" y="1366983"/>
              <a:ext cx="4644235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Revumenib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RP2D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63 mg (95 mg/m</a:t>
              </a:r>
              <a:r>
                <a:rPr kumimoji="0" lang="en-US" sz="1400" b="0" i="0" u="none" strike="noStrike" kern="1200" cap="none" spc="0" normalizeH="0" baseline="3000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if body weight &lt;40 kg) q12h oral </a:t>
              </a:r>
              <a:b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7484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 a strong CYP3A4i in 28-day cycle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20EED24E-4AE2-93C8-CAF1-AFF087256C88}"/>
              </a:ext>
            </a:extLst>
          </p:cNvPr>
          <p:cNvSpPr txBox="1"/>
          <p:nvPr/>
        </p:nvSpPr>
        <p:spPr>
          <a:xfrm>
            <a:off x="1649633" y="4181357"/>
            <a:ext cx="84763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PMingLiU" panose="02020500000000000000" pitchFamily="18" charset="-120"/>
                <a:cs typeface="Arial" panose="020B0604020202020204" pitchFamily="34" charset="0"/>
              </a:rPr>
              <a:t>*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PMingLiU" panose="02020500000000000000" pitchFamily="18" charset="-120"/>
                <a:cs typeface="Arial" panose="020B0604020202020204" pitchFamily="34" charset="0"/>
              </a:rPr>
              <a:t>CR+CRh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PMingLiU" panose="02020500000000000000" pitchFamily="18" charset="-120"/>
                <a:cs typeface="Arial" panose="020B0604020202020204" pitchFamily="34" charset="0"/>
              </a:rPr>
              <a:t> rate &gt;10% in adult evaluable population considered lower efficacy boun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8D84458-6DEC-6811-5760-F3376349A3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3722" y="4579635"/>
            <a:ext cx="7093370" cy="1903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72962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68B67B6-638A-20B1-3769-59801A2F37C1}"/>
              </a:ext>
            </a:extLst>
          </p:cNvPr>
          <p:cNvGraphicFramePr>
            <a:graphicFrameLocks/>
          </p:cNvGraphicFramePr>
          <p:nvPr/>
        </p:nvGraphicFramePr>
        <p:xfrm>
          <a:off x="440457" y="1044146"/>
          <a:ext cx="10820400" cy="5500390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255168">
                  <a:extLst>
                    <a:ext uri="{9D8B030D-6E8A-4147-A177-3AD203B41FA5}">
                      <a16:colId xmlns:a16="http://schemas.microsoft.com/office/drawing/2014/main" val="975333342"/>
                    </a:ext>
                  </a:extLst>
                </a:gridCol>
                <a:gridCol w="4094748">
                  <a:extLst>
                    <a:ext uri="{9D8B030D-6E8A-4147-A177-3AD203B41FA5}">
                      <a16:colId xmlns:a16="http://schemas.microsoft.com/office/drawing/2014/main" val="1447282289"/>
                    </a:ext>
                  </a:extLst>
                </a:gridCol>
                <a:gridCol w="2470484">
                  <a:extLst>
                    <a:ext uri="{9D8B030D-6E8A-4147-A177-3AD203B41FA5}">
                      <a16:colId xmlns:a16="http://schemas.microsoft.com/office/drawing/2014/main" val="3669379527"/>
                    </a:ext>
                  </a:extLst>
                </a:gridCol>
              </a:tblGrid>
              <a:tr h="550242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arameter</a:t>
                      </a:r>
                    </a:p>
                  </a:txBody>
                  <a:tcPr marL="121920" marR="121920" marT="60960" marB="48768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                                   Efficacy population</a:t>
                      </a:r>
                    </a:p>
                    <a:p>
                      <a:pPr marL="0" marR="0" lvl="0" indent="0" algn="ct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                                  (n=57)</a:t>
                      </a:r>
                    </a:p>
                  </a:txBody>
                  <a:tcPr marT="0" marB="4876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        Safety population</a:t>
                      </a:r>
                    </a:p>
                    <a:p>
                      <a:pPr marL="0" marR="0" lvl="0" indent="0" algn="ct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         (n=94)</a:t>
                      </a:r>
                      <a:r>
                        <a:rPr lang="en-US" sz="1400" b="1" i="0" u="none" strike="noStrike" kern="1200" cap="none" spc="0" normalizeH="0" baseline="3000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a</a:t>
                      </a:r>
                    </a:p>
                  </a:txBody>
                  <a:tcPr marT="0" marB="48768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529104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Leukemia type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defTabSz="457200">
                        <a:lnSpc>
                          <a:spcPts val="1400"/>
                        </a:lnSpc>
                      </a:pPr>
                      <a:endParaRPr lang="en-US" sz="1400" i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 defTabSz="457200">
                        <a:lnSpc>
                          <a:spcPts val="1400"/>
                        </a:lnSpc>
                      </a:pPr>
                      <a:endParaRPr lang="en-US" sz="1400" i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90285466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 AML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9 (86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78 (83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991771026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 ALL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7 (12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4 (15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776004111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 MPAL/Other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 (2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 (2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184850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o-mutations</a:t>
                      </a:r>
                      <a:r>
                        <a:rPr lang="en-US" sz="1400" b="0" i="0" u="none" strike="noStrike" kern="1200" cap="none" spc="0" normalizeH="0" baseline="3000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b</a:t>
                      </a: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4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4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8358513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1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FLT3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5 (9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7 (7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4325862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1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RAS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9 (16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2 (13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919633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1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53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 (7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5 (5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319238"/>
                  </a:ext>
                </a:extLst>
              </a:tr>
              <a:tr h="399914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rimary refractory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4 (25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8 (19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574180"/>
                  </a:ext>
                </a:extLst>
              </a:tr>
              <a:tr h="377190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Number of prior lines of therapy, median (range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 (1</a:t>
                      </a:r>
                      <a:r>
                        <a:rPr lang="en-US" sz="140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1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 (1</a:t>
                      </a:r>
                      <a:r>
                        <a:rPr lang="en-US" sz="1400" i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</a:t>
                      </a: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1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10799059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1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7 (30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5 (27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777866751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2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4 (25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8 (30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02016009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  ≥3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6 (46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1 (44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860084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rior </a:t>
                      </a:r>
                      <a:r>
                        <a:rPr lang="en-US" sz="1400" b="0" i="0" u="none" strike="noStrike" kern="1200" cap="none" spc="0" normalizeH="0" baseline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venetoclax</a:t>
                      </a: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1 (72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61 (65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6561933"/>
                  </a:ext>
                </a:extLst>
              </a:tr>
              <a:tr h="30078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rior HSCT, n (%)</a:t>
                      </a:r>
                    </a:p>
                  </a:txBody>
                  <a:tcPr marL="121920" marR="121920" marT="24384" marB="24384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6 (46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7 (50)</a:t>
                      </a:r>
                    </a:p>
                  </a:txBody>
                  <a:tcPr marL="121920" marR="731520" marT="24384" marB="2438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8416823"/>
                  </a:ext>
                </a:extLst>
              </a:tr>
              <a:tr h="262891">
                <a:tc gridSpan="3"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05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Data cutoff: July 24, 2023. </a:t>
                      </a:r>
                      <a:r>
                        <a:rPr lang="en-US" sz="1050" b="0" i="0" u="none" strike="noStrike" kern="1200" cap="none" spc="0" normalizeH="0" baseline="30000" dirty="0" err="1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a</a:t>
                      </a:r>
                      <a:r>
                        <a:rPr lang="en-US" sz="1050" b="0" i="0" u="none" strike="noStrike" kern="1200" cap="none" spc="0" normalizeH="0" baseline="0" dirty="0" err="1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Defined</a:t>
                      </a:r>
                      <a:r>
                        <a:rPr lang="en-US" sz="105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 as patients with </a:t>
                      </a:r>
                      <a:r>
                        <a:rPr lang="en-US" sz="1050" b="0" i="1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KMT2Ar</a:t>
                      </a:r>
                      <a:r>
                        <a:rPr lang="en-US" sz="105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 acute leukemia having received at least 1 dose of </a:t>
                      </a:r>
                      <a:r>
                        <a:rPr lang="en-US" sz="1050" b="0" i="0" u="none" strike="noStrike" kern="1200" cap="none" spc="0" normalizeH="0" baseline="0" dirty="0" err="1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revumenib</a:t>
                      </a:r>
                      <a:r>
                        <a:rPr lang="en-US" sz="105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. </a:t>
                      </a:r>
                      <a:r>
                        <a:rPr lang="en-US" sz="1050" b="0" i="0" u="none" strike="noStrike" kern="1200" cap="none" spc="0" normalizeH="0" baseline="30000" dirty="0" err="1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b</a:t>
                      </a:r>
                      <a:r>
                        <a:rPr lang="en-US" sz="1050" b="0" i="0" u="none" strike="noStrike" kern="1200" cap="none" spc="0" normalizeH="0" baseline="0" dirty="0" err="1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In</a:t>
                      </a:r>
                      <a:r>
                        <a:rPr lang="en-US" sz="1050" b="0" i="0" u="none" strike="noStrike" kern="1200" cap="none" spc="0" normalizeH="0" baseline="0" dirty="0">
                          <a:solidFill>
                            <a:srgbClr val="000000">
                              <a:lumMod val="100000"/>
                            </a:srgbClr>
                          </a:solidFill>
                          <a:latin typeface="Arial" panose="020B0604020202020204" pitchFamily="34" charset="0"/>
                          <a:ea typeface="Geneva"/>
                          <a:cs typeface="Arial" panose="020B0604020202020204" pitchFamily="34" charset="0"/>
                          <a:sym typeface=""/>
                        </a:rPr>
                        <a:t> patients that had co-mutation status reported.</a:t>
                      </a:r>
                      <a:endParaRPr lang="en-US" sz="1050" b="0" i="0" u="none" strike="sngStrike" kern="1200" cap="none" spc="0" normalizeH="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Genev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i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18288" marB="18288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i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18288" marB="18288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8003590"/>
                  </a:ext>
                </a:extLst>
              </a:tr>
            </a:tbl>
          </a:graphicData>
        </a:graphic>
      </p:graphicFrame>
      <p:sp>
        <p:nvSpPr>
          <p:cNvPr id="8" name="Title 3">
            <a:extLst>
              <a:ext uri="{FF2B5EF4-FFF2-40B4-BE49-F238E27FC236}">
                <a16:creationId xmlns:a16="http://schemas.microsoft.com/office/drawing/2014/main" id="{E0C69C3B-5D7A-DFE6-FA12-40B3DEC89732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UGMENT-101: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evumenib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Monotherapy for R/R KMT2Ar</a:t>
            </a:r>
          </a:p>
        </p:txBody>
      </p:sp>
    </p:spTree>
    <p:extLst>
      <p:ext uri="{BB962C8B-B14F-4D97-AF65-F5344CB8AC3E}">
        <p14:creationId xmlns:p14="http://schemas.microsoft.com/office/powerpoint/2010/main" val="182687130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D367F3F-AC2C-BE1C-2105-9C0DF9DBEA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2367286"/>
              </p:ext>
            </p:extLst>
          </p:nvPr>
        </p:nvGraphicFramePr>
        <p:xfrm>
          <a:off x="407028" y="1147530"/>
          <a:ext cx="5041404" cy="4498847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699211">
                  <a:extLst>
                    <a:ext uri="{9D8B030D-6E8A-4147-A177-3AD203B41FA5}">
                      <a16:colId xmlns:a16="http://schemas.microsoft.com/office/drawing/2014/main" val="3101295993"/>
                    </a:ext>
                  </a:extLst>
                </a:gridCol>
                <a:gridCol w="2342193">
                  <a:extLst>
                    <a:ext uri="{9D8B030D-6E8A-4147-A177-3AD203B41FA5}">
                      <a16:colId xmlns:a16="http://schemas.microsoft.com/office/drawing/2014/main" val="1747055598"/>
                    </a:ext>
                  </a:extLst>
                </a:gridCol>
              </a:tblGrid>
              <a:tr h="555544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 dirty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arameter</a:t>
                      </a:r>
                    </a:p>
                  </a:txBody>
                  <a:tcPr marL="121920" marR="121920" marT="60960" marB="48768" anchor="b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Efficacy population</a:t>
                      </a:r>
                    </a:p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4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(n=57)</a:t>
                      </a:r>
                    </a:p>
                  </a:txBody>
                  <a:tcPr marT="0" marB="48768" anchor="b"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62999"/>
                  </a:ext>
                </a:extLst>
              </a:tr>
              <a:tr h="382989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1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ORR, n (%)</a:t>
                      </a:r>
                    </a:p>
                  </a:txBody>
                  <a:tcPr marL="121920" marR="121920" marT="24384" marB="60960" anchor="b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1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36 (63)</a:t>
                      </a:r>
                    </a:p>
                  </a:txBody>
                  <a:tcPr marL="121920" marR="731520" marT="24384" marB="60960" anchor="b"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1221169"/>
                  </a:ext>
                </a:extLst>
              </a:tr>
              <a:tr h="446120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R+CRh rate, n (%)</a:t>
                      </a:r>
                    </a:p>
                  </a:txBody>
                  <a:tcPr marL="121920" marR="121920" marT="121920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3 (23)</a:t>
                      </a:r>
                    </a:p>
                  </a:txBody>
                  <a:tcPr marL="121920" marR="731520" marT="121920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64502388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28257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8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95% CI </a:t>
                      </a:r>
                    </a:p>
                  </a:txBody>
                  <a:tcPr marL="121920" marR="121920" marT="24384" marB="24384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2.7</a:t>
                      </a: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–</a:t>
                      </a:r>
                      <a:r>
                        <a:rPr lang="it-IT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35.8</a:t>
                      </a: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731520" marT="24384" marB="24384"/>
                </a:tc>
                <a:extLst>
                  <a:ext uri="{0D108BD9-81ED-4DB2-BD59-A6C34878D82A}">
                    <a16:rowId xmlns:a16="http://schemas.microsoft.com/office/drawing/2014/main" val="2504129521"/>
                  </a:ext>
                </a:extLst>
              </a:tr>
              <a:tr h="446120">
                <a:tc>
                  <a:txBody>
                    <a:bodyPr/>
                    <a:lstStyle/>
                    <a:p>
                      <a:pPr marL="28257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800" b="0" i="1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</a:t>
                      </a:r>
                      <a:r>
                        <a:rPr lang="it-IT" sz="18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value, 1-sided </a:t>
                      </a:r>
                      <a:endParaRPr lang="en-US" sz="1800" b="0" i="0" u="none" strike="noStrike" kern="1200" cap="none" spc="0" normalizeH="0" baseline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it-IT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0.0036</a:t>
                      </a: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731520" marT="24384" marB="121920"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3876041"/>
                  </a:ext>
                </a:extLst>
              </a:tr>
              <a:tr h="446120">
                <a:tc>
                  <a:txBody>
                    <a:bodyPr/>
                    <a:lstStyle/>
                    <a:p>
                      <a:pPr marL="28257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Median duration of CR/</a:t>
                      </a:r>
                      <a:r>
                        <a:rPr lang="en-US" sz="1800" b="0" i="0" u="none" strike="noStrike" kern="1200" cap="none" spc="0" normalizeH="0" baseline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Rh</a:t>
                      </a: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highlight>
                          <a:srgbClr val="FFFF00"/>
                        </a:highlight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highlight>
                            <a:srgbClr val="FFFF00"/>
                          </a:highlight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6.4</a:t>
                      </a: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 (3.4 – NR)</a:t>
                      </a:r>
                    </a:p>
                  </a:txBody>
                  <a:tcPr marL="121920" marR="731520" marT="24384" marB="121920"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4624317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Rc</a:t>
                      </a: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5 (44)</a:t>
                      </a:r>
                    </a:p>
                  </a:txBody>
                  <a:tcPr marL="121920" marR="731520" marT="24384" marB="24384">
                    <a:lnT w="1270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18698576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Proceeded to HSCT</a:t>
                      </a:r>
                    </a:p>
                  </a:txBody>
                  <a:tcPr marL="121920" marR="121920" marT="24384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4/36 (39)</a:t>
                      </a:r>
                    </a:p>
                  </a:txBody>
                  <a:tcPr marL="121920" marR="731520" marT="24384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749183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Negative MRD </a:t>
                      </a:r>
                      <a:r>
                        <a:rPr lang="en-US" sz="1800" b="0" i="0" u="none" strike="noStrike" kern="1200" cap="none" spc="0" normalizeH="0" baseline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status</a:t>
                      </a:r>
                      <a:r>
                        <a:rPr lang="en-US" sz="1800" b="0" i="0" u="none" strike="noStrike" kern="1200" cap="none" spc="0" normalizeH="0" baseline="3000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a</a:t>
                      </a:r>
                      <a:endParaRPr lang="en-US" sz="1800" b="0" i="0" u="none" strike="noStrike" kern="1200" cap="none" spc="0" normalizeH="0" baseline="30000" dirty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731520" marT="24384" marB="24384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8431338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28892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 dirty="0" err="1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R+CRh</a:t>
                      </a:r>
                      <a:endParaRPr lang="en-US" sz="1800" b="0" i="0" u="none" strike="noStrike" kern="1200" cap="none" spc="0" normalizeH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7/10 (70)</a:t>
                      </a:r>
                    </a:p>
                  </a:txBody>
                  <a:tcPr marL="121920" marR="731520" marT="24384" marB="24384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9283408"/>
                  </a:ext>
                </a:extLst>
              </a:tr>
              <a:tr h="345111">
                <a:tc>
                  <a:txBody>
                    <a:bodyPr/>
                    <a:lstStyle/>
                    <a:p>
                      <a:pPr marL="288925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CRc</a:t>
                      </a:r>
                    </a:p>
                  </a:txBody>
                  <a:tcPr marL="121920" marR="121920" marT="24384" marB="24384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8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5/22 (68)</a:t>
                      </a:r>
                    </a:p>
                  </a:txBody>
                  <a:tcPr marL="121920" marR="731520" marT="24384" marB="24384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5002034"/>
                  </a:ext>
                </a:extLst>
              </a:tr>
            </a:tbl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5B5F0AF5-22E6-FD83-2F04-CFEE16330C66}"/>
              </a:ext>
            </a:extLst>
          </p:cNvPr>
          <p:cNvSpPr/>
          <p:nvPr/>
        </p:nvSpPr>
        <p:spPr>
          <a:xfrm>
            <a:off x="407028" y="2171082"/>
            <a:ext cx="5041404" cy="1161205"/>
          </a:xfrm>
          <a:prstGeom prst="rect">
            <a:avLst/>
          </a:prstGeom>
          <a:noFill/>
          <a:ln w="28575">
            <a:solidFill>
              <a:srgbClr val="CE0037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85C5536E-9B5D-FBA5-C3F4-686A1EDF6738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UGMENT-101: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evumenib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Monotherapy for R/R KMT2A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287A701-608D-6BE5-4713-ECFC1CA9E75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9460" y="1486845"/>
            <a:ext cx="6037845" cy="4698197"/>
          </a:xfrm>
          <a:prstGeom prst="rect">
            <a:avLst/>
          </a:prstGeom>
        </p:spPr>
      </p:pic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9806B0DB-E2C9-3AB4-1AB4-4E449EF4780A}"/>
              </a:ext>
            </a:extLst>
          </p:cNvPr>
          <p:cNvGraphicFramePr>
            <a:graphicFrameLocks noGrp="1"/>
          </p:cNvGraphicFramePr>
          <p:nvPr/>
        </p:nvGraphicFramePr>
        <p:xfrm>
          <a:off x="529016" y="5760157"/>
          <a:ext cx="4358536" cy="543613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4358536">
                  <a:extLst>
                    <a:ext uri="{9D8B030D-6E8A-4147-A177-3AD203B41FA5}">
                      <a16:colId xmlns:a16="http://schemas.microsoft.com/office/drawing/2014/main" val="3429856358"/>
                    </a:ext>
                  </a:extLst>
                </a:gridCol>
              </a:tblGrid>
              <a:tr h="543613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Median OS (95% CI)</a:t>
                      </a:r>
                      <a:b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</a:br>
                      <a:r>
                        <a:rPr lang="en-US" sz="1600" b="0" i="0" u="none" strike="noStrike" kern="1200" cap="none" spc="0" normalizeH="0" baseline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8.0 months (4.1–10.9)</a:t>
                      </a:r>
                    </a:p>
                  </a:txBody>
                  <a:tcPr marT="18288" marB="18288" anchor="ctr">
                    <a:lnT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0824655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07CAD42-53A0-EE81-4ECE-BACF570FC6D7}"/>
              </a:ext>
            </a:extLst>
          </p:cNvPr>
          <p:cNvSpPr txBox="1"/>
          <p:nvPr/>
        </p:nvSpPr>
        <p:spPr>
          <a:xfrm>
            <a:off x="5132876" y="6227703"/>
            <a:ext cx="61360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, complete remission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omposite CR (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+CRh+CRp+CR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h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R with partial hematologic recovery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i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R with incomplete hematologic recovery;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p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CR with incomplete platelet recovery; MLFS, morphological leukemia-free state; MRD, minimal residual disease; ORR, overall response rate (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c+MLFS+PR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7484F">
                    <a:lumMod val="65000"/>
                    <a:lumOff val="3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; PD, progressive disease; PR, partial remission. </a:t>
            </a:r>
          </a:p>
        </p:txBody>
      </p:sp>
    </p:spTree>
    <p:extLst>
      <p:ext uri="{BB962C8B-B14F-4D97-AF65-F5344CB8AC3E}">
        <p14:creationId xmlns:p14="http://schemas.microsoft.com/office/powerpoint/2010/main" val="664450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68B67B6-638A-20B1-3769-59801A2F37C1}"/>
              </a:ext>
            </a:extLst>
          </p:cNvPr>
          <p:cNvGraphicFramePr>
            <a:graphicFrameLocks/>
          </p:cNvGraphicFramePr>
          <p:nvPr/>
        </p:nvGraphicFramePr>
        <p:xfrm>
          <a:off x="527420" y="1800578"/>
          <a:ext cx="5257518" cy="3169241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979399">
                  <a:extLst>
                    <a:ext uri="{9D8B030D-6E8A-4147-A177-3AD203B41FA5}">
                      <a16:colId xmlns:a16="http://schemas.microsoft.com/office/drawing/2014/main" val="975333342"/>
                    </a:ext>
                  </a:extLst>
                </a:gridCol>
                <a:gridCol w="2278119">
                  <a:extLst>
                    <a:ext uri="{9D8B030D-6E8A-4147-A177-3AD203B41FA5}">
                      <a16:colId xmlns:a16="http://schemas.microsoft.com/office/drawing/2014/main" val="1447282289"/>
                    </a:ext>
                  </a:extLst>
                </a:gridCol>
              </a:tblGrid>
              <a:tr h="553361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All terms, n (%)</a:t>
                      </a:r>
                    </a:p>
                  </a:txBody>
                  <a:tcPr marL="121920" marR="121920" marT="60960" marB="48768" anchor="b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Safety population (n=94)</a:t>
                      </a:r>
                      <a:r>
                        <a:rPr lang="en-US" sz="1600" b="1" i="0" u="none" strike="noStrike" kern="1200" cap="none" spc="0" normalizeH="0" baseline="3000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a</a:t>
                      </a:r>
                    </a:p>
                  </a:txBody>
                  <a:tcPr marT="0" marB="48768" anchor="b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529104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Nausea</a:t>
                      </a:r>
                    </a:p>
                  </a:txBody>
                  <a:tcPr marL="121920" marR="121920" marT="36576" marB="36576" anchor="ctr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42 (45)</a:t>
                      </a:r>
                    </a:p>
                  </a:txBody>
                  <a:tcPr marL="121920" marR="853440" marT="36576" marB="36576" anchor="ctr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76680477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Febrile neutropenia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36 (38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4120058964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iarrhea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33 (35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2273884343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Vomiting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9 (31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4263551624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ifferentiation syndrome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6 (28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1968338330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Hypokalemia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6 (28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1803200455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Epistaxis</a:t>
                      </a:r>
                    </a:p>
                  </a:txBody>
                  <a:tcPr marL="121920" marR="121920" marT="36576" marB="36576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5 (27)</a:t>
                      </a:r>
                    </a:p>
                  </a:txBody>
                  <a:tcPr marL="121920" marR="853440" marT="36576" marB="36576" anchor="ctr"/>
                </a:tc>
                <a:extLst>
                  <a:ext uri="{0D108BD9-81ED-4DB2-BD59-A6C34878D82A}">
                    <a16:rowId xmlns:a16="http://schemas.microsoft.com/office/drawing/2014/main" val="2558016650"/>
                  </a:ext>
                </a:extLst>
              </a:tr>
              <a:tr h="326985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QTc prolongation</a:t>
                      </a:r>
                    </a:p>
                  </a:txBody>
                  <a:tcPr marL="121920" marR="121920" marT="36576" marB="36576" anchor="ctr"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24 (26)</a:t>
                      </a:r>
                    </a:p>
                  </a:txBody>
                  <a:tcPr marL="121920" marR="853440" marT="36576" marB="36576" anchor="ctr"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514143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6FA7161-E543-C870-740B-04B4CF6B9F3F}"/>
              </a:ext>
            </a:extLst>
          </p:cNvPr>
          <p:cNvSpPr txBox="1"/>
          <p:nvPr/>
        </p:nvSpPr>
        <p:spPr>
          <a:xfrm>
            <a:off x="296087" y="1390209"/>
            <a:ext cx="5773120" cy="379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-13" normalizeH="0" baseline="0" noProof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Any grade TEAEs that occurred in ≥25% patients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86FBF67-A4DF-8737-AD10-ED7CF19745F1}"/>
              </a:ext>
            </a:extLst>
          </p:cNvPr>
          <p:cNvGraphicFramePr>
            <a:graphicFrameLocks/>
          </p:cNvGraphicFramePr>
          <p:nvPr/>
        </p:nvGraphicFramePr>
        <p:xfrm>
          <a:off x="6306401" y="1800577"/>
          <a:ext cx="5389882" cy="3386328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3399295">
                  <a:extLst>
                    <a:ext uri="{9D8B030D-6E8A-4147-A177-3AD203B41FA5}">
                      <a16:colId xmlns:a16="http://schemas.microsoft.com/office/drawing/2014/main" val="975333342"/>
                    </a:ext>
                  </a:extLst>
                </a:gridCol>
                <a:gridCol w="1990587">
                  <a:extLst>
                    <a:ext uri="{9D8B030D-6E8A-4147-A177-3AD203B41FA5}">
                      <a16:colId xmlns:a16="http://schemas.microsoft.com/office/drawing/2014/main" val="1447282289"/>
                    </a:ext>
                  </a:extLst>
                </a:gridCol>
              </a:tblGrid>
              <a:tr h="53644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ts val="2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All terms, n (%)</a:t>
                      </a:r>
                    </a:p>
                  </a:txBody>
                  <a:tcPr marL="121920" marR="121920" marT="60960" marB="48768" anchor="b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Safety population</a:t>
                      </a:r>
                    </a:p>
                    <a:p>
                      <a:pPr marL="0" marR="0" lvl="0" indent="0" algn="ct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1" i="0" u="none" strike="noStrike" kern="1200" cap="none" spc="0" normalizeH="0" baseline="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(n=94)</a:t>
                      </a:r>
                      <a:r>
                        <a:rPr lang="en-US" sz="1600" b="1" i="0" u="none" strike="noStrike" kern="1200" cap="none" spc="0" normalizeH="0" baseline="30000">
                          <a:solidFill>
                            <a:schemeClr val="tx2">
                              <a:lumMod val="10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  <a:sym typeface=""/>
                        </a:rPr>
                        <a:t>a</a:t>
                      </a:r>
                    </a:p>
                  </a:txBody>
                  <a:tcPr marT="0" marB="48768" anchor="b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52910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Febrile neutropenia</a:t>
                      </a:r>
                    </a:p>
                  </a:txBody>
                  <a:tcPr marL="121920" marR="121920" marT="24384" marB="24384" anchor="ctr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35 (37)</a:t>
                      </a:r>
                    </a:p>
                  </a:txBody>
                  <a:tcPr marL="121920" marR="731520" marT="24384" marB="24384" anchor="ctr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7668047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ecreased neutrophil count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5 (16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412005896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ecreased white blood cell count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5 (16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2273884343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ecreased platelet count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4 (15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426355162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Anemia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7 (18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196833833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Differentiation syndrome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5 (16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180320045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QTc prolongation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3 (14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255801665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Sepsis</a:t>
                      </a:r>
                    </a:p>
                  </a:txBody>
                  <a:tcPr marL="121920" marR="121920" marT="24384" marB="24384" anchor="ctr"/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1 (12)</a:t>
                      </a:r>
                    </a:p>
                  </a:txBody>
                  <a:tcPr marL="121920" marR="731520" marT="24384" marB="24384" anchor="ctr"/>
                </a:tc>
                <a:extLst>
                  <a:ext uri="{0D108BD9-81ED-4DB2-BD59-A6C34878D82A}">
                    <a16:rowId xmlns:a16="http://schemas.microsoft.com/office/drawing/2014/main" val="365514143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Hypokalemia</a:t>
                      </a:r>
                    </a:p>
                  </a:txBody>
                  <a:tcPr marL="121920" marR="121920" marT="24384" marB="24384" anchor="ctr"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6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  <a:sym typeface=""/>
                        </a:rPr>
                        <a:t>10 (11)</a:t>
                      </a:r>
                    </a:p>
                  </a:txBody>
                  <a:tcPr marL="121920" marR="731520" marT="24384" marB="24384" anchor="ctr">
                    <a:lnB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595951"/>
                  </a:ext>
                </a:extLst>
              </a:tr>
              <a:tr h="211328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US" sz="11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Geneva"/>
                        <a:cs typeface="Arial" panose="020B0604020202020204" pitchFamily="34" charset="0"/>
                        <a:sym typeface=""/>
                      </a:endParaRPr>
                    </a:p>
                  </a:txBody>
                  <a:tcPr marL="121920" marR="121920" marT="24384" marB="24384">
                    <a:lnT w="28575" cap="flat" cmpd="sng" algn="ctr">
                      <a:solidFill>
                        <a:srgbClr val="1F497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18288" marB="1828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14642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25A1AD7E-924B-F00C-72B4-3C00CCA326F7}"/>
              </a:ext>
            </a:extLst>
          </p:cNvPr>
          <p:cNvSpPr txBox="1"/>
          <p:nvPr/>
        </p:nvSpPr>
        <p:spPr>
          <a:xfrm>
            <a:off x="6306401" y="1390207"/>
            <a:ext cx="5486400" cy="379656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1" i="0" u="none" strike="noStrike" kern="1200" cap="none" spc="0" normalizeH="0" baseline="0" noProof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"/>
              </a:rPr>
              <a:t>Grade ≥3 TEAEs that occurred in ≥10% pati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A96C3C-1506-746F-410A-23DB0F4370EA}"/>
              </a:ext>
            </a:extLst>
          </p:cNvPr>
          <p:cNvSpPr txBox="1"/>
          <p:nvPr/>
        </p:nvSpPr>
        <p:spPr>
          <a:xfrm>
            <a:off x="554215" y="4969826"/>
            <a:ext cx="10798629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Data cutoff: July 24, 2023. </a:t>
            </a:r>
            <a:r>
              <a:rPr kumimoji="0" lang="en-US" sz="1067" b="0" i="0" u="none" strike="noStrike" kern="1200" cap="none" spc="0" normalizeH="0" baseline="30000" noProof="0" err="1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a</a:t>
            </a:r>
            <a:r>
              <a:rPr kumimoji="0" lang="en-US" sz="1067" b="0" i="0" u="none" strike="noStrike" kern="1200" cap="none" spc="0" normalizeH="0" baseline="0" noProof="0" err="1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Defined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 as patients with </a:t>
            </a:r>
            <a:r>
              <a:rPr kumimoji="0" lang="en-US" sz="1067" b="0" i="1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KMT2Ar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10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  <a:sym typeface=""/>
              </a:rPr>
              <a:t> acute leukemia having received at least 1 dose of revumenib.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9B98CF-9D63-108A-D5EA-AA1755633055}"/>
              </a:ext>
            </a:extLst>
          </p:cNvPr>
          <p:cNvSpPr txBox="1"/>
          <p:nvPr/>
        </p:nvSpPr>
        <p:spPr>
          <a:xfrm>
            <a:off x="540819" y="5465785"/>
            <a:ext cx="11142067" cy="74879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patients discontinued due to differentiation syndrome, QTc prolongation, or </a:t>
            </a:r>
            <a:r>
              <a: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topenias</a:t>
            </a:r>
            <a:endParaRPr kumimoji="0" lang="en-US" sz="2133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33" b="0" i="1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Es leading to Dose reduction: 9 (10%) or Discontinuation: 12 (14%)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673BB3DD-EF85-E2B5-F430-E12FD2529CB9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UGMENT-101: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evumenib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Monotherapy for R/R KMT2Ar</a:t>
            </a:r>
          </a:p>
        </p:txBody>
      </p:sp>
    </p:spTree>
    <p:extLst>
      <p:ext uri="{BB962C8B-B14F-4D97-AF65-F5344CB8AC3E}">
        <p14:creationId xmlns:p14="http://schemas.microsoft.com/office/powerpoint/2010/main" val="397515169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DAFC5AA-08CC-C244-4A16-A4EEA538C47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5750" y="1211580"/>
            <a:ext cx="11750040" cy="5105245"/>
          </a:xfrm>
        </p:spPr>
        <p:txBody>
          <a:bodyPr vert="horz" lIns="121920" tIns="60960" rIns="121920" bIns="60960" rtlCol="0" anchor="t">
            <a:noAutofit/>
          </a:bodyPr>
          <a:lstStyle/>
          <a:p>
            <a:pPr marL="243834" indent="-243834">
              <a:spcBef>
                <a:spcPts val="1600"/>
              </a:spcBef>
            </a:pPr>
            <a:r>
              <a:rPr lang="en-US" sz="2000" dirty="0" err="1">
                <a:latin typeface="Arial"/>
                <a:ea typeface="Geneva"/>
                <a:cs typeface="Arial"/>
              </a:rPr>
              <a:t>Revumenib</a:t>
            </a:r>
            <a:r>
              <a:rPr lang="en-US" sz="2000" dirty="0">
                <a:latin typeface="Arial"/>
                <a:ea typeface="Geneva"/>
                <a:cs typeface="Arial"/>
              </a:rPr>
              <a:t> is effective and safe in pediatric and adult patients with R/R </a:t>
            </a:r>
            <a:r>
              <a:rPr lang="en-US" sz="2000" i="1" dirty="0">
                <a:latin typeface="Arial"/>
                <a:ea typeface="Geneva"/>
                <a:cs typeface="Arial"/>
              </a:rPr>
              <a:t>KMT2Ar </a:t>
            </a:r>
            <a:r>
              <a:rPr lang="en-US" sz="2000" dirty="0">
                <a:latin typeface="Arial"/>
                <a:ea typeface="Geneva"/>
                <a:cs typeface="Arial"/>
              </a:rPr>
              <a:t>acute leukemia</a:t>
            </a:r>
          </a:p>
          <a:p>
            <a:pPr marL="243834" indent="-243834">
              <a:spcBef>
                <a:spcPts val="1600"/>
              </a:spcBef>
            </a:pPr>
            <a:r>
              <a:rPr lang="en-US" sz="2000" dirty="0">
                <a:latin typeface="Arial"/>
                <a:ea typeface="Geneva"/>
                <a:cs typeface="Arial"/>
              </a:rPr>
              <a:t>Durable MRD-negative remissions were observed in responders</a:t>
            </a:r>
          </a:p>
          <a:p>
            <a:pPr marL="243834" indent="-243834">
              <a:spcBef>
                <a:spcPts val="1600"/>
              </a:spcBef>
            </a:pPr>
            <a:r>
              <a:rPr lang="en-US" sz="2000" dirty="0">
                <a:cs typeface="Arial" panose="020B0604020202020204" pitchFamily="34" charset="0"/>
              </a:rPr>
              <a:t>High rates of transplants among responders</a:t>
            </a:r>
          </a:p>
          <a:p>
            <a:pPr marL="243834" indent="-243834">
              <a:spcBef>
                <a:spcPts val="1600"/>
              </a:spcBef>
            </a:pPr>
            <a:r>
              <a:rPr lang="en-US" sz="2000" dirty="0">
                <a:cs typeface="Arial" panose="020B0604020202020204" pitchFamily="34" charset="0"/>
              </a:rPr>
              <a:t>Discontinuations and dose reductions due to adverse events were low</a:t>
            </a:r>
          </a:p>
          <a:p>
            <a:pPr marL="243834" indent="-243834">
              <a:spcBef>
                <a:spcPts val="1600"/>
              </a:spcBef>
            </a:pPr>
            <a:r>
              <a:rPr lang="en-US" sz="2000" b="1" dirty="0">
                <a:cs typeface="Arial" panose="020B0604020202020204" pitchFamily="34" charset="0"/>
              </a:rPr>
              <a:t>Study was stopped early after meeting the primary efficacy endpoint at the predefined interim analysis. </a:t>
            </a:r>
            <a:r>
              <a:rPr lang="en-US" sz="2000" dirty="0">
                <a:cs typeface="Arial" panose="020B0604020202020204" pitchFamily="34" charset="0"/>
              </a:rPr>
              <a:t>A New Drug Application for </a:t>
            </a:r>
            <a:r>
              <a:rPr lang="en-US" sz="2000" i="1" dirty="0">
                <a:cs typeface="Arial" panose="020B0604020202020204" pitchFamily="34" charset="0"/>
              </a:rPr>
              <a:t>KMT2Ar</a:t>
            </a:r>
            <a:r>
              <a:rPr lang="en-US" sz="2000" dirty="0">
                <a:cs typeface="Arial" panose="020B0604020202020204" pitchFamily="34" charset="0"/>
              </a:rPr>
              <a:t> leukemia has been initiated under the FDA Real-Time Oncology Review program based on these data</a:t>
            </a:r>
          </a:p>
          <a:p>
            <a:pPr marL="243834" indent="-243834">
              <a:spcBef>
                <a:spcPts val="1600"/>
              </a:spcBef>
            </a:pPr>
            <a:r>
              <a:rPr lang="en-US" sz="2000" i="1" dirty="0">
                <a:cs typeface="Arial" panose="020B0604020202020204" pitchFamily="34" charset="0"/>
              </a:rPr>
              <a:t>The independent NPM1m cohort continues to enroll at all sites</a:t>
            </a:r>
          </a:p>
          <a:p>
            <a:pPr lvl="1">
              <a:spcBef>
                <a:spcPts val="1600"/>
              </a:spcBef>
            </a:pPr>
            <a:endParaRPr lang="en-US" sz="2000" dirty="0">
              <a:highlight>
                <a:srgbClr val="FF00FF"/>
              </a:highlight>
              <a:cs typeface="Arial" panose="020B0604020202020204" pitchFamily="34" charset="0"/>
            </a:endParaRPr>
          </a:p>
          <a:p>
            <a:pPr>
              <a:spcBef>
                <a:spcPts val="1600"/>
              </a:spcBef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600"/>
              </a:spcBef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600"/>
              </a:spcBef>
            </a:pPr>
            <a:endParaRPr lang="en-US" sz="2400" dirty="0"/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997783CB-3763-006B-571C-9354629BF6A0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UGMENT-101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: 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Revumenib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Monotherapy for R/R KMT2Ar</a:t>
            </a:r>
          </a:p>
        </p:txBody>
      </p:sp>
    </p:spTree>
    <p:extLst>
      <p:ext uri="{BB962C8B-B14F-4D97-AF65-F5344CB8AC3E}">
        <p14:creationId xmlns:p14="http://schemas.microsoft.com/office/powerpoint/2010/main" val="348070945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37C0B7-C0C6-443D-719F-776E8A53DB0C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JNJ-75276617 for R/R Acute Leukemia with KMT2Ar or NPM1m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0B816EE-E45D-3ECB-DD1E-ACB0D9975B74}"/>
              </a:ext>
            </a:extLst>
          </p:cNvPr>
          <p:cNvSpPr txBox="1"/>
          <p:nvPr/>
        </p:nvSpPr>
        <p:spPr>
          <a:xfrm>
            <a:off x="135012" y="6249123"/>
            <a:ext cx="2210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Jabbou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 ASH #57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8A33719-D8CE-2098-B255-C66E249623C0}"/>
              </a:ext>
            </a:extLst>
          </p:cNvPr>
          <p:cNvGrpSpPr/>
          <p:nvPr/>
        </p:nvGrpSpPr>
        <p:grpSpPr>
          <a:xfrm>
            <a:off x="534953" y="1657947"/>
            <a:ext cx="5561047" cy="3915747"/>
            <a:chOff x="2735151" y="1112967"/>
            <a:chExt cx="6721698" cy="4632070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E00C4B3A-16D1-EC70-8CEF-51415EB56E06}"/>
                </a:ext>
              </a:extLst>
            </p:cNvPr>
            <p:cNvGrpSpPr/>
            <p:nvPr/>
          </p:nvGrpSpPr>
          <p:grpSpPr>
            <a:xfrm>
              <a:off x="2735151" y="1112967"/>
              <a:ext cx="6721698" cy="4488345"/>
              <a:chOff x="1670162" y="1941117"/>
              <a:chExt cx="6483351" cy="3292240"/>
            </a:xfrm>
          </p:grpSpPr>
          <p:sp>
            <p:nvSpPr>
              <p:cNvPr id="39" name="Text Box 5">
                <a:extLst>
                  <a:ext uri="{FF2B5EF4-FFF2-40B4-BE49-F238E27FC236}">
                    <a16:creationId xmlns:a16="http://schemas.microsoft.com/office/drawing/2014/main" id="{FFAE68C3-96FE-4F64-D8EB-714E0B47ED6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82316" y="1941117"/>
                <a:ext cx="6471197" cy="425753"/>
              </a:xfrm>
              <a:prstGeom prst="rect">
                <a:avLst/>
              </a:prstGeom>
              <a:solidFill>
                <a:srgbClr val="1C75BC">
                  <a:lumMod val="20000"/>
                  <a:lumOff val="80000"/>
                </a:srgbClr>
              </a:solidFill>
              <a:ln w="12700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51435" tIns="25718" rIns="51435" bIns="25718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514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Open Sans" panose="020B0606030504020204" pitchFamily="34" charset="0"/>
                  </a:rPr>
                  <a:t>Part 1: Dose Escalation (NCT04811560) </a:t>
                </a:r>
              </a:p>
              <a:p>
                <a:pPr marL="0" marR="0" lvl="0" indent="0" algn="ctr" defTabSz="514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2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/>
                    <a:ea typeface="Open Sans" panose="020B0606030504020204" pitchFamily="34" charset="0"/>
                    <a:cs typeface="Open Sans" panose="020B0606030504020204" pitchFamily="34" charset="0"/>
                  </a:rPr>
                  <a:t>Ongoing; RP2D yet to be determined</a:t>
                </a:r>
              </a:p>
            </p:txBody>
          </p:sp>
          <p:sp>
            <p:nvSpPr>
              <p:cNvPr id="40" name="Text Box 54">
                <a:extLst>
                  <a:ext uri="{FF2B5EF4-FFF2-40B4-BE49-F238E27FC236}">
                    <a16:creationId xmlns:a16="http://schemas.microsoft.com/office/drawing/2014/main" id="{0A6E5852-188C-79DD-7742-AF1A8E75BDA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670162" y="4610239"/>
                <a:ext cx="3688113" cy="623118"/>
              </a:xfrm>
              <a:prstGeom prst="rect">
                <a:avLst/>
              </a:prstGeom>
              <a:noFill/>
              <a:ln w="12700">
                <a:noFill/>
                <a:miter lim="800000"/>
                <a:headEnd/>
                <a:tailEnd/>
              </a:ln>
            </p:spPr>
            <p:txBody>
              <a:bodyPr vert="horz" wrap="square" lIns="51435" tIns="25718" rIns="51435" bIns="25718" numCol="1" anchor="ctr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marL="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4572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171450" marR="0" lvl="0" indent="-171450" algn="ctr" defTabSz="514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/>
                    <a:ea typeface="Open Sans"/>
                    <a:cs typeface="Open Sans"/>
                  </a:rPr>
                  <a:t>BOIN statistical design </a:t>
                </a:r>
                <a:endParaRPr kumimoji="0" lang="en-US" alt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pPr marL="171450" marR="0" lvl="0" indent="-171450" algn="ctr" defTabSz="514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/>
                    <a:ea typeface="Open Sans"/>
                    <a:cs typeface="Open Sans"/>
                  </a:rPr>
                  <a:t>Pts receive JNJ-75276617 orally either daily or BID continuously</a:t>
                </a:r>
              </a:p>
              <a:p>
                <a:pPr marL="171450" marR="0" lvl="0" indent="-171450" algn="ctr" defTabSz="51435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alt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212121"/>
                    </a:solidFill>
                    <a:effectLst/>
                    <a:uLnTx/>
                    <a:uFillTx/>
                    <a:latin typeface="Arial"/>
                    <a:ea typeface="Open Sans"/>
                    <a:cs typeface="Open Sans"/>
                  </a:rPr>
                  <a:t>Step-up dosing started early in dose escalation</a:t>
                </a:r>
              </a:p>
            </p:txBody>
          </p:sp>
        </p:grp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F9B3D237-502B-910F-B579-B34327C444BF}"/>
                </a:ext>
              </a:extLst>
            </p:cNvPr>
            <p:cNvSpPr/>
            <p:nvPr/>
          </p:nvSpPr>
          <p:spPr>
            <a:xfrm>
              <a:off x="7062087" y="4203977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Step-up to 45 </a:t>
              </a: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Wingdings" panose="05000000000000000000" pitchFamily="2" charset="2"/>
                </a:rPr>
                <a:t>mg BID</a:t>
              </a: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B6C9033E-BA23-E26A-AFD1-63303928C3EA}"/>
                </a:ext>
              </a:extLst>
            </p:cNvPr>
            <p:cNvSpPr/>
            <p:nvPr/>
          </p:nvSpPr>
          <p:spPr>
            <a:xfrm>
              <a:off x="7062087" y="2201648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Step-up to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Wingdings" panose="05000000000000000000" pitchFamily="2" charset="2"/>
                </a:rPr>
                <a:t>150 mg BID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DA20FEF-8BDA-C3AD-4839-6F5880394163}"/>
                </a:ext>
              </a:extLst>
            </p:cNvPr>
            <p:cNvSpPr/>
            <p:nvPr/>
          </p:nvSpPr>
          <p:spPr>
            <a:xfrm>
              <a:off x="7062087" y="1734837"/>
              <a:ext cx="2184337" cy="394742"/>
            </a:xfrm>
            <a:prstGeom prst="rect">
              <a:avLst/>
            </a:prstGeom>
            <a:solidFill>
              <a:srgbClr val="002060"/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RP2D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Candidate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(s)</a:t>
              </a:r>
            </a:p>
          </p:txBody>
        </p:sp>
        <p:sp>
          <p:nvSpPr>
            <p:cNvPr id="11" name="Arrow: Up 10">
              <a:extLst>
                <a:ext uri="{FF2B5EF4-FFF2-40B4-BE49-F238E27FC236}">
                  <a16:creationId xmlns:a16="http://schemas.microsoft.com/office/drawing/2014/main" id="{0E57FC11-47C8-2E28-7FBA-958E2286851A}"/>
                </a:ext>
              </a:extLst>
            </p:cNvPr>
            <p:cNvSpPr/>
            <p:nvPr/>
          </p:nvSpPr>
          <p:spPr bwMode="auto">
            <a:xfrm>
              <a:off x="6558849" y="1769083"/>
              <a:ext cx="338825" cy="3934515"/>
            </a:xfrm>
            <a:prstGeom prst="upArrow">
              <a:avLst/>
            </a:prstGeom>
            <a:noFill/>
            <a:ln w="28575" cap="flat" cmpd="sng" algn="ctr">
              <a:solidFill>
                <a:srgbClr val="21212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N W3" pitchFamily="-110" charset="-128"/>
                <a:cs typeface="ヒラギノ角ゴ ProN W3" pitchFamily="-110" charset="-128"/>
                <a:sym typeface="Arial" pitchFamily="-110" charset="0"/>
              </a:endParaRPr>
            </a:p>
          </p:txBody>
        </p:sp>
        <p:sp>
          <p:nvSpPr>
            <p:cNvPr id="38" name="TextBox 29">
              <a:extLst>
                <a:ext uri="{FF2B5EF4-FFF2-40B4-BE49-F238E27FC236}">
                  <a16:creationId xmlns:a16="http://schemas.microsoft.com/office/drawing/2014/main" id="{69C64EE0-C975-0D81-32BD-8F3240F67935}"/>
                </a:ext>
              </a:extLst>
            </p:cNvPr>
            <p:cNvSpPr txBox="1"/>
            <p:nvPr/>
          </p:nvSpPr>
          <p:spPr>
            <a:xfrm>
              <a:off x="3351658" y="2516290"/>
              <a:ext cx="2656189" cy="174758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Arial" pitchFamily="-110" charset="0"/>
                </a:rPr>
                <a:t>Adult pts with R/R acute leukemia harboring </a:t>
              </a:r>
              <a:r>
                <a:rPr kumimoji="0" lang="en-US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Arial" pitchFamily="-110" charset="0"/>
                </a:rPr>
                <a:t>KMT2A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Arial" pitchFamily="-110" charset="0"/>
                </a:rPr>
                <a:t> or </a:t>
              </a:r>
              <a:r>
                <a:rPr kumimoji="0" lang="en-US" sz="1800" b="0" i="1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Arial" pitchFamily="-110" charset="0"/>
                </a:rPr>
                <a:t>NPM1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12121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Arial" pitchFamily="-110" charset="0"/>
                </a:rPr>
                <a:t> alterations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439B855-0391-E7E9-ADFA-BB3FA9F5B8C8}"/>
                </a:ext>
              </a:extLst>
            </p:cNvPr>
            <p:cNvSpPr/>
            <p:nvPr/>
          </p:nvSpPr>
          <p:spPr>
            <a:xfrm>
              <a:off x="7062087" y="3536534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Step-up to </a:t>
              </a: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Wingdings" panose="05000000000000000000" pitchFamily="2" charset="2"/>
                </a:rPr>
                <a:t>100 mg BID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E8ADD781-9722-79A1-164E-E3A5FF909A8F}"/>
                </a:ext>
              </a:extLst>
            </p:cNvPr>
            <p:cNvSpPr/>
            <p:nvPr/>
          </p:nvSpPr>
          <p:spPr>
            <a:xfrm>
              <a:off x="7062087" y="5350295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50 mg Daily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EDCCEDE-DEBF-7892-55C6-A564315A8FF2}"/>
                </a:ext>
              </a:extLst>
            </p:cNvPr>
            <p:cNvSpPr/>
            <p:nvPr/>
          </p:nvSpPr>
          <p:spPr>
            <a:xfrm>
              <a:off x="7062087" y="4871421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</a:rPr>
                <a:t>100 mg Daily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92A239E-A430-BFAB-EE29-DCC80846E842}"/>
                </a:ext>
              </a:extLst>
            </p:cNvPr>
            <p:cNvSpPr/>
            <p:nvPr/>
          </p:nvSpPr>
          <p:spPr>
            <a:xfrm>
              <a:off x="7062087" y="2869091"/>
              <a:ext cx="2184337" cy="394742"/>
            </a:xfrm>
            <a:prstGeom prst="rect">
              <a:avLst/>
            </a:prstGeom>
            <a:solidFill>
              <a:srgbClr val="1C75BC">
                <a:lumMod val="20000"/>
                <a:lumOff val="80000"/>
              </a:srgbClr>
            </a:solidFill>
            <a:ln w="12700" cap="flat" cmpd="sng" algn="ctr">
              <a:solidFill>
                <a:srgbClr val="212121"/>
              </a:solidFill>
              <a:prstDash val="solid"/>
            </a:ln>
            <a:effectLst/>
          </p:spPr>
          <p:txBody>
            <a:bodyPr rot="0" spcFirstLastPara="0" vert="horz" wrap="square" lIns="51435" tIns="25718" rIns="51435" bIns="2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383342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Open Sans" panose="020B0606030504020204" pitchFamily="34" charset="0"/>
                  <a:cs typeface="Open Sans" panose="020B0606030504020204" pitchFamily="34" charset="0"/>
                  <a:sym typeface="Wingdings" panose="05000000000000000000" pitchFamily="2" charset="2"/>
                </a:rPr>
                <a:t>Step-up to 130 mg BID</a:t>
              </a: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2FFD8642-9FCE-A60A-54B6-BC77AA8CDDEA}"/>
                </a:ext>
              </a:extLst>
            </p:cNvPr>
            <p:cNvGrpSpPr/>
            <p:nvPr/>
          </p:nvGrpSpPr>
          <p:grpSpPr>
            <a:xfrm>
              <a:off x="8059893" y="4600329"/>
              <a:ext cx="201362" cy="276870"/>
              <a:chOff x="8019697" y="4592905"/>
              <a:chExt cx="201362" cy="276870"/>
            </a:xfrm>
          </p:grpSpPr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2CBC1BE3-1556-15C0-DEED-87CA5F8730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2" y="4780144"/>
                <a:ext cx="0" cy="89631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" name="Straight Connector 33">
                <a:extLst>
                  <a:ext uri="{FF2B5EF4-FFF2-40B4-BE49-F238E27FC236}">
                    <a16:creationId xmlns:a16="http://schemas.microsoft.com/office/drawing/2014/main" id="{3CF9E1BA-FC22-9C9C-9604-7C5E5B7B07CC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30784" y="4751617"/>
                <a:ext cx="190275" cy="41438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08482A49-CF89-8922-48EC-446676ED4106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19697" y="4691812"/>
                <a:ext cx="190275" cy="34247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6" name="Straight Connector 35">
                <a:extLst>
                  <a:ext uri="{FF2B5EF4-FFF2-40B4-BE49-F238E27FC236}">
                    <a16:creationId xmlns:a16="http://schemas.microsoft.com/office/drawing/2014/main" id="{051DA80D-07E9-A271-6A2A-53903131BFA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0" y="4592905"/>
                <a:ext cx="0" cy="119299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321FB5FF-2BD2-7801-8B5B-EE44F3849998}"/>
                </a:ext>
              </a:extLst>
            </p:cNvPr>
            <p:cNvGrpSpPr/>
            <p:nvPr/>
          </p:nvGrpSpPr>
          <p:grpSpPr>
            <a:xfrm>
              <a:off x="8053574" y="3928558"/>
              <a:ext cx="201362" cy="269943"/>
              <a:chOff x="8019697" y="4599832"/>
              <a:chExt cx="201362" cy="269943"/>
            </a:xfrm>
          </p:grpSpPr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070F3DEE-90BA-A6E0-2D27-C28339175B27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2" y="4780144"/>
                <a:ext cx="0" cy="89631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AFF0E3CD-3A7B-4588-AC62-629369751A90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30784" y="4751617"/>
                <a:ext cx="190275" cy="41438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1" name="Straight Connector 30">
                <a:extLst>
                  <a:ext uri="{FF2B5EF4-FFF2-40B4-BE49-F238E27FC236}">
                    <a16:creationId xmlns:a16="http://schemas.microsoft.com/office/drawing/2014/main" id="{090042A8-7E55-01DB-0644-AB2E3754010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19697" y="4691812"/>
                <a:ext cx="190275" cy="34247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1EE61264-3B7B-A329-99E5-7344FDBB31D3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0" y="4599832"/>
                <a:ext cx="0" cy="100584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84BB093-5FB0-24C6-36C6-1B33CB098DBA}"/>
                </a:ext>
              </a:extLst>
            </p:cNvPr>
            <p:cNvGrpSpPr/>
            <p:nvPr/>
          </p:nvGrpSpPr>
          <p:grpSpPr>
            <a:xfrm>
              <a:off x="8053574" y="3265164"/>
              <a:ext cx="201362" cy="268632"/>
              <a:chOff x="8019697" y="4601143"/>
              <a:chExt cx="201362" cy="268632"/>
            </a:xfrm>
          </p:grpSpPr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6DA255AB-3DF0-D312-FCFB-6A945668635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2" y="4780144"/>
                <a:ext cx="0" cy="89631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BC6A508F-E2E5-86AB-14D5-4C943A0D7B6B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30784" y="4751617"/>
                <a:ext cx="190275" cy="41438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824C9B48-8B93-8CC9-CE72-C40C44A02BFA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19697" y="4691812"/>
                <a:ext cx="190275" cy="34247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1B7AA68F-C99F-77C8-672A-36FE8DC6F55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0" y="4601143"/>
                <a:ext cx="0" cy="100584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1883AA1A-915B-4116-5F19-12D1924852B6}"/>
                </a:ext>
              </a:extLst>
            </p:cNvPr>
            <p:cNvGrpSpPr/>
            <p:nvPr/>
          </p:nvGrpSpPr>
          <p:grpSpPr>
            <a:xfrm>
              <a:off x="8064661" y="2599769"/>
              <a:ext cx="201362" cy="276870"/>
              <a:chOff x="8019697" y="4592905"/>
              <a:chExt cx="201362" cy="276870"/>
            </a:xfrm>
          </p:grpSpPr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791C5EF6-2CA9-7B24-B44F-CADD8A30CF7D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2" y="4780144"/>
                <a:ext cx="0" cy="89631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B9CE4473-2F84-F704-3D01-05F1ABD39218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30784" y="4751617"/>
                <a:ext cx="190275" cy="41438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82B4F6C7-D16B-EF81-088C-BA31DE93288E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V="1">
                <a:off x="8019697" y="4691812"/>
                <a:ext cx="190275" cy="34247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24" name="Straight Connector 23">
                <a:extLst>
                  <a:ext uri="{FF2B5EF4-FFF2-40B4-BE49-F238E27FC236}">
                    <a16:creationId xmlns:a16="http://schemas.microsoft.com/office/drawing/2014/main" id="{FA0C9229-C1CB-DDD6-9887-1040B1B1E9F1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8125920" y="4592905"/>
                <a:ext cx="0" cy="119299"/>
              </a:xfrm>
              <a:prstGeom prst="line">
                <a:avLst/>
              </a:prstGeom>
              <a:solidFill>
                <a:srgbClr val="C0C0C0"/>
              </a:solidFill>
              <a:ln w="12700" cap="flat" cmpd="sng" algn="ctr">
                <a:solidFill>
                  <a:srgbClr val="21212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graphicFrame>
        <p:nvGraphicFramePr>
          <p:cNvPr id="41" name="Table 4">
            <a:extLst>
              <a:ext uri="{FF2B5EF4-FFF2-40B4-BE49-F238E27FC236}">
                <a16:creationId xmlns:a16="http://schemas.microsoft.com/office/drawing/2014/main" id="{BF7726F3-C7BD-8F73-A914-6FF0393D589A}"/>
              </a:ext>
            </a:extLst>
          </p:cNvPr>
          <p:cNvGraphicFramePr>
            <a:graphicFrameLocks noGrp="1"/>
          </p:cNvGraphicFramePr>
          <p:nvPr/>
        </p:nvGraphicFramePr>
        <p:xfrm>
          <a:off x="6632121" y="1308943"/>
          <a:ext cx="4949857" cy="5174881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3348990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600867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</a:tblGrid>
              <a:tr h="457041">
                <a:tc>
                  <a:txBody>
                    <a:bodyPr/>
                    <a:lstStyle/>
                    <a:p>
                      <a:endParaRPr lang="en-US" sz="1300" dirty="0">
                        <a:solidFill>
                          <a:srgbClr val="232C3D"/>
                        </a:solidFill>
                        <a:latin typeface="+mn-lt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All Treated </a:t>
                      </a:r>
                    </a:p>
                    <a:p>
                      <a:pPr algn="ctr"/>
                      <a:r>
                        <a:rPr lang="en-US" sz="1300" dirty="0">
                          <a:solidFill>
                            <a:schemeClr val="bg1"/>
                          </a:solidFill>
                        </a:rPr>
                        <a:t>(N=86)</a:t>
                      </a:r>
                      <a:endParaRPr lang="en-US" sz="13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133462446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232C3D"/>
                          </a:solidFill>
                          <a:sym typeface="OpenSans"/>
                        </a:rPr>
                        <a:t>Age, median (range), years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232C3D"/>
                          </a:solidFill>
                        </a:rPr>
                        <a:t>59.5 (18-85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703084918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 noProof="0">
                          <a:solidFill>
                            <a:srgbClr val="232C3D"/>
                          </a:solidFill>
                          <a:sym typeface="OpenSans"/>
                        </a:rPr>
                        <a:t>Female, n (%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 dirty="0">
                          <a:solidFill>
                            <a:srgbClr val="232C3D"/>
                          </a:solidFill>
                        </a:rPr>
                        <a:t>49 (57)</a:t>
                      </a:r>
                      <a:endParaRPr lang="en-US" sz="13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262852707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 kern="1200" noProof="0" dirty="0">
                          <a:solidFill>
                            <a:srgbClr val="232C3D"/>
                          </a:solidFill>
                        </a:rPr>
                        <a:t>Male, n (%)</a:t>
                      </a:r>
                      <a:endParaRPr lang="en-US" sz="1300" b="1" kern="1200" noProof="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 kern="1200">
                          <a:solidFill>
                            <a:srgbClr val="232C3D"/>
                          </a:solidFill>
                        </a:rPr>
                        <a:t>37 (43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2728165556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 noProof="0">
                          <a:solidFill>
                            <a:srgbClr val="232C3D"/>
                          </a:solidFill>
                          <a:sym typeface="OpenSans"/>
                        </a:rPr>
                        <a:t>Diagnosis, n (%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4153998212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AML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78 (91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681948256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ALL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4 (4.5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561758666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    Other acute leukemia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lvl="0" indent="0" algn="ctr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4 (4.5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4279538835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kumimoji="0" lang="en-US" sz="13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Prior </a:t>
                      </a:r>
                      <a:r>
                        <a:rPr lang="en-US" sz="13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therapy </a:t>
                      </a:r>
                      <a:endParaRPr kumimoji="0" lang="en-US" sz="13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352594156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sym typeface="OpenSans"/>
                        </a:rPr>
                        <a:t> Lines of prior therapy, median (range)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 dirty="0">
                          <a:solidFill>
                            <a:srgbClr val="232C3D"/>
                          </a:solidFill>
                          <a:highlight>
                            <a:srgbClr val="FFFF00"/>
                          </a:highlight>
                        </a:rPr>
                        <a:t>3.0 (1-7)</a:t>
                      </a:r>
                      <a:endParaRPr lang="en-US" sz="1300" b="0" kern="1200" dirty="0">
                        <a:solidFill>
                          <a:srgbClr val="232C3D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938316021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Prior </a:t>
                      </a:r>
                      <a:r>
                        <a:rPr lang="en-US" sz="13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HSCT</a:t>
                      </a:r>
                      <a:r>
                        <a:rPr kumimoji="0" lang="en-US" sz="1300" b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, n (%)</a:t>
                      </a:r>
                      <a:endParaRPr kumimoji="0" lang="en-US" sz="13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20 (23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931672137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sym typeface="OpenSans"/>
                        </a:rPr>
                        <a:t> Prior </a:t>
                      </a:r>
                      <a:r>
                        <a:rPr kumimoji="0" lang="en-US" sz="1300" b="0" u="none" strike="noStrike" kern="1200" cap="none" spc="0" normalizeH="0" baseline="0" noProof="0" err="1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sym typeface="OpenSans"/>
                        </a:rPr>
                        <a:t>venetoclax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highlight>
                            <a:srgbClr val="FFFF00"/>
                          </a:highlight>
                          <a:uLnTx/>
                          <a:uFillTx/>
                          <a:sym typeface="OpenSans"/>
                        </a:rPr>
                        <a:t> therapy, n (%)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 dirty="0">
                          <a:solidFill>
                            <a:srgbClr val="232C3D"/>
                          </a:solidFill>
                          <a:highlight>
                            <a:srgbClr val="FFFF00"/>
                          </a:highlight>
                        </a:rPr>
                        <a:t>52 (61)</a:t>
                      </a:r>
                      <a:endParaRPr lang="en-US" sz="1300" b="0" kern="1200" dirty="0">
                        <a:solidFill>
                          <a:srgbClr val="232C3D"/>
                        </a:solidFill>
                        <a:highlight>
                          <a:srgbClr val="FFFF00"/>
                        </a:highlight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2523037248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KMT2A alteration, n (%)</a:t>
                      </a:r>
                      <a:endParaRPr kumimoji="0" lang="en-US" sz="13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232C3D"/>
                          </a:solidFill>
                        </a:rPr>
                        <a:t>50 (58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855227748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kern="1200">
                          <a:solidFill>
                            <a:srgbClr val="232C3D"/>
                          </a:solidFill>
                        </a:rPr>
                        <a:t>    </a:t>
                      </a:r>
                      <a:r>
                        <a:rPr lang="en-US" sz="1300" kern="1200">
                          <a:solidFill>
                            <a:srgbClr val="232C3D"/>
                          </a:solidFill>
                          <a:sym typeface="OpenSans"/>
                        </a:rPr>
                        <a:t> Translocation</a:t>
                      </a:r>
                      <a:endParaRPr lang="en-US" sz="130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 dirty="0">
                          <a:solidFill>
                            <a:srgbClr val="232C3D"/>
                          </a:solidFill>
                        </a:rPr>
                        <a:t>36 (72)</a:t>
                      </a:r>
                      <a:endParaRPr lang="en-US" sz="1300" b="0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4216739627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Amplification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5 (10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595013938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Partial tandem duplication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5 (10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509177982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Other/Unknown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4 (8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368730358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300" b="1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NPM1 alteration, n (%)</a:t>
                      </a:r>
                      <a:endParaRPr kumimoji="0" lang="en-US" sz="13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1" kern="1200">
                          <a:solidFill>
                            <a:srgbClr val="232C3D"/>
                          </a:solidFill>
                        </a:rPr>
                        <a:t>36 (42)</a:t>
                      </a:r>
                      <a:endParaRPr lang="en-US" sz="13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599362741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Insertion/Frameshift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27 (75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3012402979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Translocation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>
                          <a:solidFill>
                            <a:srgbClr val="232C3D"/>
                          </a:solidFill>
                        </a:rPr>
                        <a:t>6 (17)</a:t>
                      </a:r>
                      <a:endParaRPr lang="en-US" sz="13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2017653031"/>
                  </a:ext>
                </a:extLst>
              </a:tr>
              <a:tr h="235892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</a:rPr>
                        <a:t>    </a:t>
                      </a:r>
                      <a:r>
                        <a:rPr kumimoji="0" lang="en-US" sz="1300" b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 Other/Unknown</a:t>
                      </a:r>
                      <a:endParaRPr kumimoji="0" lang="en-US" sz="13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18288" marB="18288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300" b="0" kern="1200" dirty="0">
                          <a:solidFill>
                            <a:srgbClr val="232C3D"/>
                          </a:solidFill>
                        </a:rPr>
                        <a:t>3 (8)</a:t>
                      </a:r>
                      <a:endParaRPr lang="en-US" sz="1300" b="0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18288" marB="18288" anchor="ctr"/>
                </a:tc>
                <a:extLst>
                  <a:ext uri="{0D108BD9-81ED-4DB2-BD59-A6C34878D82A}">
                    <a16:rowId xmlns:a16="http://schemas.microsoft.com/office/drawing/2014/main" val="13335505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607865"/>
      </p:ext>
    </p:extLst>
  </p:cSld>
  <p:clrMapOvr>
    <a:masterClrMapping/>
  </p:clrMapOvr>
  <p:transition spd="med"/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Table 4">
            <a:extLst>
              <a:ext uri="{FF2B5EF4-FFF2-40B4-BE49-F238E27FC236}">
                <a16:creationId xmlns:a16="http://schemas.microsoft.com/office/drawing/2014/main" id="{701D5222-B5B5-4208-81A6-6EE2FCB3626B}"/>
              </a:ext>
            </a:extLst>
          </p:cNvPr>
          <p:cNvGraphicFramePr>
            <a:graphicFrameLocks noGrp="1"/>
          </p:cNvGraphicFramePr>
          <p:nvPr/>
        </p:nvGraphicFramePr>
        <p:xfrm>
          <a:off x="315380" y="1322558"/>
          <a:ext cx="7962900" cy="3908663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4230353">
                  <a:extLst>
                    <a:ext uri="{9D8B030D-6E8A-4147-A177-3AD203B41FA5}">
                      <a16:colId xmlns:a16="http://schemas.microsoft.com/office/drawing/2014/main" val="448902403"/>
                    </a:ext>
                  </a:extLst>
                </a:gridCol>
                <a:gridCol w="1876239">
                  <a:extLst>
                    <a:ext uri="{9D8B030D-6E8A-4147-A177-3AD203B41FA5}">
                      <a16:colId xmlns:a16="http://schemas.microsoft.com/office/drawing/2014/main" val="1052019350"/>
                    </a:ext>
                  </a:extLst>
                </a:gridCol>
                <a:gridCol w="1856308">
                  <a:extLst>
                    <a:ext uri="{9D8B030D-6E8A-4147-A177-3AD203B41FA5}">
                      <a16:colId xmlns:a16="http://schemas.microsoft.com/office/drawing/2014/main" val="3660011686"/>
                    </a:ext>
                  </a:extLst>
                </a:gridCol>
              </a:tblGrid>
              <a:tr h="572156"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232C3D"/>
                          </a:solidFill>
                        </a:rPr>
                        <a:t>Efficacy subset</a:t>
                      </a:r>
                    </a:p>
                    <a:p>
                      <a:endParaRPr lang="en-US" sz="1600" dirty="0">
                        <a:solidFill>
                          <a:srgbClr val="232C3D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232C3D"/>
                          </a:solidFill>
                        </a:rPr>
                        <a:t>45-130 mg BID Cohorts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(N=33, </a:t>
                      </a:r>
                      <a:r>
                        <a:rPr lang="en-US" sz="1600" dirty="0">
                          <a:solidFill>
                            <a:srgbClr val="232C3D"/>
                          </a:solidFill>
                        </a:rPr>
                        <a:t>acute leukemia)</a:t>
                      </a:r>
                      <a:endParaRPr lang="en-US" sz="1600" dirty="0">
                        <a:solidFill>
                          <a:srgbClr val="232C3D"/>
                        </a:solidFill>
                        <a:latin typeface="+mn-lt"/>
                      </a:endParaRPr>
                    </a:p>
                  </a:txBody>
                  <a:tcPr marT="27432" marB="27432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3462446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</a:rPr>
                        <a:t>ORR (≥PR), n (%)</a:t>
                      </a:r>
                      <a:endParaRPr lang="en-US" sz="16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232C3D"/>
                          </a:solidFill>
                        </a:rPr>
                        <a:t>15 (46)</a:t>
                      </a:r>
                      <a:endParaRPr lang="en-US" sz="16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3084918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</a:rPr>
                        <a:t>     </a:t>
                      </a: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Ongoing responders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lvl="0" indent="0" algn="ctr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8 (53)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442111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  <a:sym typeface="OpenSans"/>
                        </a:rPr>
                        <a:t>Best response, n (%)</a:t>
                      </a:r>
                      <a:endParaRPr lang="en-US" sz="16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6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15687011"/>
                  </a:ext>
                </a:extLst>
              </a:tr>
              <a:tr h="315007"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kern="1200" noProof="0">
                          <a:solidFill>
                            <a:srgbClr val="232C3D"/>
                          </a:solidFill>
                        </a:rPr>
                        <a:t>     CR/</a:t>
                      </a:r>
                      <a:r>
                        <a:rPr lang="en-US" sz="1600" b="1" u="none" strike="noStrike" kern="1200" noProof="0" err="1">
                          <a:solidFill>
                            <a:srgbClr val="232C3D"/>
                          </a:solidFill>
                        </a:rPr>
                        <a:t>CRh</a:t>
                      </a:r>
                      <a:r>
                        <a:rPr lang="en-US" sz="1600" b="1" u="none" strike="noStrike" kern="1200" noProof="0">
                          <a:solidFill>
                            <a:srgbClr val="232C3D"/>
                          </a:solidFill>
                        </a:rPr>
                        <a:t>/</a:t>
                      </a:r>
                      <a:r>
                        <a:rPr lang="en-US" sz="1600" b="1" u="none" strike="noStrike" kern="1200" noProof="0" err="1">
                          <a:solidFill>
                            <a:srgbClr val="232C3D"/>
                          </a:solidFill>
                        </a:rPr>
                        <a:t>CRi</a:t>
                      </a:r>
                      <a:endParaRPr lang="en-US" sz="1600" b="1" i="0" u="none" strike="noStrike" kern="1200" noProof="0">
                        <a:solidFill>
                          <a:srgbClr val="232C3D"/>
                        </a:solidFill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lvl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1" u="none" strike="noStrike" kern="1200" noProof="0">
                          <a:solidFill>
                            <a:srgbClr val="232C3D"/>
                          </a:solidFill>
                        </a:rPr>
                        <a:t>9 (27)</a:t>
                      </a:r>
                      <a:endParaRPr lang="en-US" sz="1600" b="1" i="0" u="none" strike="noStrike" kern="1200" noProof="0">
                        <a:solidFill>
                          <a:srgbClr val="232C3D"/>
                        </a:solidFill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571346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            CR/</a:t>
                      </a:r>
                      <a:r>
                        <a:rPr lang="en-US" sz="1600" b="0" kern="1200" err="1">
                          <a:solidFill>
                            <a:srgbClr val="232C3D"/>
                          </a:solidFill>
                        </a:rPr>
                        <a:t>CRh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lvl="0" indent="0" algn="ctr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7 (21)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1454412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            </a:t>
                      </a:r>
                      <a:r>
                        <a:rPr lang="en-US" sz="1600" b="0" kern="1200">
                          <a:solidFill>
                            <a:srgbClr val="232C3D"/>
                          </a:solidFill>
                          <a:sym typeface="OpenSans"/>
                        </a:rPr>
                        <a:t>CR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6 (18)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3998212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</a:rPr>
                        <a:t>    </a:t>
                      </a:r>
                      <a:r>
                        <a:rPr lang="en-US" sz="1600" b="1" kern="1200">
                          <a:solidFill>
                            <a:srgbClr val="232C3D"/>
                          </a:solidFill>
                          <a:sym typeface="OpenSans"/>
                        </a:rPr>
                        <a:t> MLFS/PR</a:t>
                      </a:r>
                      <a:endParaRPr lang="en-US" sz="16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</a:rPr>
                        <a:t>6 (18)</a:t>
                      </a:r>
                      <a:endParaRPr lang="en-US" sz="16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8316021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>
                          <a:solidFill>
                            <a:srgbClr val="232C3D"/>
                          </a:solidFill>
                          <a:sym typeface="OpenSans"/>
                        </a:rPr>
                        <a:t>Median time to first response, </a:t>
                      </a:r>
                      <a:r>
                        <a:rPr lang="en-US" sz="1600" b="1" kern="1200" err="1">
                          <a:solidFill>
                            <a:srgbClr val="232C3D"/>
                          </a:solidFill>
                          <a:sym typeface="OpenSans"/>
                        </a:rPr>
                        <a:t>mos</a:t>
                      </a:r>
                      <a:endParaRPr lang="en-US" sz="1600" b="1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1.8 (0.9-3.3)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6326093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</a:pPr>
                      <a:r>
                        <a:rPr lang="en-US" sz="1600" b="1" kern="1200" dirty="0">
                          <a:solidFill>
                            <a:srgbClr val="232C3D"/>
                          </a:solidFill>
                          <a:sym typeface="OpenSans"/>
                        </a:rPr>
                        <a:t>Median duration of response, </a:t>
                      </a:r>
                      <a:r>
                        <a:rPr lang="en-US" sz="1600" b="1" kern="1200" dirty="0" err="1">
                          <a:solidFill>
                            <a:srgbClr val="232C3D"/>
                          </a:solidFill>
                          <a:sym typeface="OpenSans"/>
                        </a:rPr>
                        <a:t>mos</a:t>
                      </a:r>
                      <a:endParaRPr lang="en-US" sz="16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 gridSpan="2"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rgbClr val="232C3D"/>
                          </a:solidFill>
                          <a:highlight>
                            <a:srgbClr val="FFFF00"/>
                          </a:highlight>
                        </a:rPr>
                        <a:t>6.5</a:t>
                      </a:r>
                      <a:r>
                        <a:rPr lang="en-US" sz="1600" b="0" kern="1200" dirty="0">
                          <a:solidFill>
                            <a:srgbClr val="232C3D"/>
                          </a:solidFill>
                        </a:rPr>
                        <a:t> (1.0-NE)</a:t>
                      </a:r>
                      <a:endParaRPr lang="en-US" sz="1600" b="0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68232749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1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232C3D"/>
                          </a:solidFill>
                        </a:rPr>
                        <a:t>KMT2A (N=19)</a:t>
                      </a:r>
                      <a:endParaRPr lang="en-US" sz="16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rgbClr val="232C3D"/>
                          </a:solidFill>
                        </a:rPr>
                        <a:t>NPM1 (N=14)</a:t>
                      </a:r>
                      <a:endParaRPr lang="en-US" sz="1600" b="1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740423"/>
                  </a:ext>
                </a:extLst>
              </a:tr>
              <a:tr h="302150">
                <a:tc>
                  <a:txBody>
                    <a:bodyPr/>
                    <a:lstStyle/>
                    <a:p>
                      <a:pPr marL="0" marR="0" lvl="0" indent="0" algn="l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rgbClr val="00A0DF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1600" b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232C3D"/>
                          </a:solidFill>
                          <a:effectLst/>
                          <a:uLnTx/>
                          <a:uFillTx/>
                          <a:sym typeface="OpenSans"/>
                        </a:rPr>
                        <a:t>ORR, n (%)</a:t>
                      </a:r>
                      <a:endParaRPr kumimoji="0" 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32C3D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  <a:sym typeface="OpenSans"/>
                      </a:endParaRPr>
                    </a:p>
                  </a:txBody>
                  <a:tcPr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>
                          <a:solidFill>
                            <a:srgbClr val="232C3D"/>
                          </a:solidFill>
                        </a:rPr>
                        <a:t>8 (42)</a:t>
                      </a:r>
                      <a:endParaRPr lang="en-US" sz="1600" b="0" kern="120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tc>
                  <a:txBody>
                    <a:bodyPr/>
                    <a:lstStyle/>
                    <a:p>
                      <a:pPr marL="0" marR="0" lvl="0" indent="0" algn="ctr" defTabSz="914396" rtl="0" eaLnBrk="1" fontAlgn="auto" latinLnBrk="0" hangingPunct="1">
                        <a:lnSpc>
                          <a:spcPct val="95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rgbClr val="232C3D"/>
                          </a:solidFill>
                        </a:rPr>
                        <a:t>7 (50)</a:t>
                      </a:r>
                      <a:endParaRPr lang="en-US" sz="1600" b="0" kern="1200" dirty="0">
                        <a:solidFill>
                          <a:srgbClr val="232C3D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27432" marB="27432" anchor="ctr"/>
                </a:tc>
                <a:extLst>
                  <a:ext uri="{0D108BD9-81ED-4DB2-BD59-A6C34878D82A}">
                    <a16:rowId xmlns:a16="http://schemas.microsoft.com/office/drawing/2014/main" val="1118044762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A72A0A-279D-473F-B229-0EA5E3E74B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4631" y="6387133"/>
            <a:ext cx="274320" cy="3142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457200" rtl="0" eaLnBrk="1" latinLnBrk="0" hangingPunct="1">
              <a:defRPr sz="11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EC47FE-8A01-4867-B742-54144C5B6A63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1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47A1105-6AA5-9597-A70E-6A5E01681E1A}"/>
              </a:ext>
            </a:extLst>
          </p:cNvPr>
          <p:cNvSpPr txBox="1"/>
          <p:nvPr/>
        </p:nvSpPr>
        <p:spPr>
          <a:xfrm>
            <a:off x="8426665" y="1988536"/>
            <a:ext cx="3495675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512445" marR="0" lvl="2" indent="-28575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134E7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3/6 of CR were MRD negative</a:t>
            </a:r>
            <a:endParaRPr kumimoji="0" lang="en-US" sz="300" b="1" i="0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Open Sans"/>
              <a:cs typeface="Open Sans"/>
            </a:endParaRPr>
          </a:p>
          <a:p>
            <a:pPr marL="512445" marR="0" lvl="2" indent="-28575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134E7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1 responder discontinued for HSCT</a:t>
            </a: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Open Sans"/>
              <a:cs typeface="Open Sans"/>
            </a:endParaRPr>
          </a:p>
          <a:p>
            <a:pPr marL="512445" marR="0" lvl="2" indent="-28575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134E7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2 pts in </a:t>
            </a:r>
            <a:r>
              <a:rPr kumimoji="0" lang="en-US" sz="2000" b="1" i="0" u="sng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&gt;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 Cycle 12</a:t>
            </a:r>
            <a:endParaRPr kumimoji="0" lang="en-US" sz="600" b="1" i="0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Open Sans"/>
              <a:cs typeface="Open Sans"/>
            </a:endParaRPr>
          </a:p>
          <a:p>
            <a:pPr marL="512445" marR="0" lvl="2" indent="-28575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Clr>
                <a:srgbClr val="134E77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Similar response rates observed in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KMT2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and </a:t>
            </a:r>
            <a:r>
              <a:rPr kumimoji="0" lang="en-US" sz="2000" b="1" i="1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NPM1</a:t>
            </a:r>
            <a:endParaRPr kumimoji="0" lang="en-US" sz="500" b="1" i="1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Open Sans"/>
              <a:cs typeface="Open Sans"/>
            </a:endParaRP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EF459641-98A7-1C97-EDA8-5C8A6A10DE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5380" y="5559076"/>
            <a:ext cx="8274685" cy="314298"/>
          </a:xfrm>
          <a:prstGeom prst="rect">
            <a:avLst/>
          </a:prstGeom>
        </p:spPr>
        <p:txBody>
          <a:bodyPr vert="horz" lIns="90000" tIns="0" rIns="9000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lnSpc>
                <a:spcPct val="100000"/>
              </a:lnSpc>
              <a:spcAft>
                <a:spcPts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Open Sans"/>
                <a:cs typeface="Open Sans"/>
              </a:rPr>
              <a:t>Responses were investigator-assessed per modified ELN 2017 recommendations (AML) or ESMO 2016 with NCCN 2020 modifications (ALL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8626C269-C58C-AD15-4829-223540163671}"/>
              </a:ext>
            </a:extLst>
          </p:cNvPr>
          <p:cNvSpPr txBox="1">
            <a:spLocks/>
          </p:cNvSpPr>
          <p:nvPr/>
        </p:nvSpPr>
        <p:spPr>
          <a:xfrm>
            <a:off x="33524" y="6580522"/>
            <a:ext cx="1939445" cy="347042"/>
          </a:xfrm>
          <a:prstGeom prst="rect">
            <a:avLst/>
          </a:prstGeom>
        </p:spPr>
        <p:txBody>
          <a:bodyPr vert="horz" lIns="90000" tIns="0" rIns="9000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lnSpc>
                <a:spcPct val="100000"/>
              </a:lnSpc>
              <a:spcAft>
                <a:spcPts val="0"/>
              </a:spcAft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cut-off date: October 25, 2023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18B1B2DB-D60B-D3BB-7963-AD9972E8BDA5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JNJ-75276617 for R/R Acute Leukemia with KMT2Ar or NPM1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2ACE404-8AC1-D35E-AF7C-513401A0E40A}"/>
              </a:ext>
            </a:extLst>
          </p:cNvPr>
          <p:cNvSpPr txBox="1"/>
          <p:nvPr/>
        </p:nvSpPr>
        <p:spPr>
          <a:xfrm>
            <a:off x="185057" y="5778101"/>
            <a:ext cx="9612086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SAFETY:</a:t>
            </a:r>
          </a:p>
          <a:p>
            <a:pPr marL="171132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DS occurred in 12% pts; effectively managed w/ BID dosing and supportive </a:t>
            </a:r>
            <a:r>
              <a:rPr kumimoji="0" lang="en-US" sz="1800" b="1" i="1" u="none" strike="noStrike" kern="1200" cap="none" spc="0" normalizeH="0" baseline="0" noProof="0" dirty="0" err="1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mgmt</a:t>
            </a:r>
            <a:endParaRPr kumimoji="0" lang="en-US" sz="1800" b="1" i="1" u="none" strike="noStrike" kern="1200" cap="none" spc="0" normalizeH="0" baseline="0" noProof="0" dirty="0">
              <a:ln>
                <a:noFill/>
              </a:ln>
              <a:solidFill>
                <a:srgbClr val="232C3D"/>
              </a:solidFill>
              <a:effectLst/>
              <a:uLnTx/>
              <a:uFillTx/>
              <a:latin typeface="Arial"/>
              <a:ea typeface="+mn-lt"/>
              <a:cs typeface="Arial"/>
            </a:endParaRPr>
          </a:p>
          <a:p>
            <a:pPr marL="171132" marR="0" lvl="1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lt"/>
                <a:cs typeface="Arial"/>
              </a:rPr>
              <a:t>1 pt with QT prolongation </a:t>
            </a:r>
          </a:p>
        </p:txBody>
      </p:sp>
    </p:spTree>
    <p:extLst>
      <p:ext uri="{BB962C8B-B14F-4D97-AF65-F5344CB8AC3E}">
        <p14:creationId xmlns:p14="http://schemas.microsoft.com/office/powerpoint/2010/main" val="396621894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4D5FA872-8F5F-20F0-8E13-5C3F2B2CFAF6}"/>
              </a:ext>
            </a:extLst>
          </p:cNvPr>
          <p:cNvSpPr/>
          <p:nvPr/>
        </p:nvSpPr>
        <p:spPr>
          <a:xfrm>
            <a:off x="382880" y="2544429"/>
            <a:ext cx="3095387" cy="2182413"/>
          </a:xfrm>
          <a:prstGeom prst="roundRect">
            <a:avLst>
              <a:gd name="adj" fmla="val 5430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ge ≥12 year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/R AML or Myeloid MPAL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KMT2A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r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PM1m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r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P98r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COG ≤2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equate organ function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F03C9904-84B9-BD4A-E02F-C5051E818533}"/>
              </a:ext>
            </a:extLst>
          </p:cNvPr>
          <p:cNvSpPr/>
          <p:nvPr/>
        </p:nvSpPr>
        <p:spPr>
          <a:xfrm>
            <a:off x="8458200" y="1349612"/>
            <a:ext cx="3485586" cy="3113225"/>
          </a:xfrm>
          <a:prstGeom prst="roundRect">
            <a:avLst>
              <a:gd name="adj" fmla="val 5130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imary objectives: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 1 (3+3 design)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, MTD and RP2D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hase 2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	Efficacy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econdary objectives: </a:t>
            </a:r>
          </a:p>
          <a:p>
            <a:pPr marL="342900" marR="0" lvl="0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hase 2 </a:t>
            </a:r>
          </a:p>
          <a:p>
            <a:pPr marL="457200" marR="0" lvl="1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S, RFS, CRD, MRD</a:t>
            </a:r>
          </a:p>
        </p:txBody>
      </p:sp>
      <p:sp>
        <p:nvSpPr>
          <p:cNvPr id="26" name="TextBox 26">
            <a:extLst>
              <a:ext uri="{FF2B5EF4-FFF2-40B4-BE49-F238E27FC236}">
                <a16:creationId xmlns:a16="http://schemas.microsoft.com/office/drawing/2014/main" id="{C221AC76-C6F3-0B2F-FC9F-5ADE0216512F}"/>
              </a:ext>
            </a:extLst>
          </p:cNvPr>
          <p:cNvSpPr txBox="1"/>
          <p:nvPr/>
        </p:nvSpPr>
        <p:spPr>
          <a:xfrm>
            <a:off x="3743324" y="1352562"/>
            <a:ext cx="4446325" cy="150810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charset="0"/>
              </a:rPr>
              <a:t>Revume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charset="0"/>
              </a:rPr>
              <a:t> (SNDX-5613)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DL-0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113 mg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DL-1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163 mg (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RP2D of monotherap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)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Geneva"/>
              <a:cs typeface="Arial" panose="020B0604020202020204" pitchFamily="34" charset="0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Geneva"/>
                <a:cs typeface="Arial" panose="020B0604020202020204" pitchFamily="34" charset="0"/>
              </a:rPr>
              <a:t>PO Q12h D1-D28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Geneva"/>
                <a:cs typeface="Arial"/>
              </a:rPr>
              <a:t>+ a strong CYP3A4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80175EE-E11E-4DB8-8A98-0DF7ABDEE047}"/>
              </a:ext>
            </a:extLst>
          </p:cNvPr>
          <p:cNvSpPr txBox="1"/>
          <p:nvPr/>
        </p:nvSpPr>
        <p:spPr>
          <a:xfrm>
            <a:off x="3731851" y="4410607"/>
            <a:ext cx="4461292" cy="1323439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400 mg target dose* with ramp up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O D1-D14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adjusted with azol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CB69A44-0A45-4A2A-B796-D8B9F5BB5E30}"/>
              </a:ext>
            </a:extLst>
          </p:cNvPr>
          <p:cNvSpPr txBox="1"/>
          <p:nvPr/>
        </p:nvSpPr>
        <p:spPr>
          <a:xfrm>
            <a:off x="3731851" y="3159629"/>
            <a:ext cx="4457798" cy="954107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Geneva" charset="0"/>
                <a:cs typeface="Geneva" charset="0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ASTX727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 tablet (35 mg decitabine and 100 mg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dazuridin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) PO daily for D1-D5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FC12477-A9A3-8F93-4BD1-CF89049B5473}"/>
              </a:ext>
            </a:extLst>
          </p:cNvPr>
          <p:cNvSpPr txBox="1"/>
          <p:nvPr/>
        </p:nvSpPr>
        <p:spPr>
          <a:xfrm>
            <a:off x="3760524" y="5736828"/>
            <a:ext cx="4429125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Calibri"/>
              </a:rPr>
              <a:t>*D14 bone marrow for early response 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F284391-30E6-DE73-25EB-BF4D38BD7DCC}"/>
              </a:ext>
            </a:extLst>
          </p:cNvPr>
          <p:cNvSpPr/>
          <p:nvPr/>
        </p:nvSpPr>
        <p:spPr>
          <a:xfrm>
            <a:off x="8455078" y="4852769"/>
            <a:ext cx="3491830" cy="882403"/>
          </a:xfrm>
          <a:prstGeom prst="roundRect">
            <a:avLst>
              <a:gd name="adj" fmla="val 5430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aintenanc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umenib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ost-HSCT for 1 year 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D14C170-FAD6-47FE-B1CD-E5AD203F5659}"/>
              </a:ext>
            </a:extLst>
          </p:cNvPr>
          <p:cNvSpPr txBox="1"/>
          <p:nvPr/>
        </p:nvSpPr>
        <p:spPr>
          <a:xfrm>
            <a:off x="9451508" y="6267546"/>
            <a:ext cx="24090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sa G, ASH #58 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A6777A4-EEE6-47DF-F76F-5526B9F52E13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AVE: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DX +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TX727 + </a:t>
            </a:r>
            <a:r>
              <a:rPr kumimoji="0" lang="en-US" sz="3600" b="0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VE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etoclax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triplet</a:t>
            </a:r>
          </a:p>
        </p:txBody>
      </p:sp>
    </p:spTree>
    <p:extLst>
      <p:ext uri="{BB962C8B-B14F-4D97-AF65-F5344CB8AC3E}">
        <p14:creationId xmlns:p14="http://schemas.microsoft.com/office/powerpoint/2010/main" val="169631314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C599031-46E8-71E2-4DCE-50689A0A7322}"/>
              </a:ext>
            </a:extLst>
          </p:cNvPr>
          <p:cNvGraphicFramePr>
            <a:graphicFrameLocks noGrp="1"/>
          </p:cNvGraphicFramePr>
          <p:nvPr/>
        </p:nvGraphicFramePr>
        <p:xfrm>
          <a:off x="361913" y="1128235"/>
          <a:ext cx="5826201" cy="54559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34308">
                  <a:extLst>
                    <a:ext uri="{9D8B030D-6E8A-4147-A177-3AD203B41FA5}">
                      <a16:colId xmlns:a16="http://schemas.microsoft.com/office/drawing/2014/main" val="1265628573"/>
                    </a:ext>
                  </a:extLst>
                </a:gridCol>
                <a:gridCol w="2391893">
                  <a:extLst>
                    <a:ext uri="{9D8B030D-6E8A-4147-A177-3AD203B41FA5}">
                      <a16:colId xmlns:a16="http://schemas.microsoft.com/office/drawing/2014/main" val="2778350750"/>
                    </a:ext>
                  </a:extLst>
                </a:gridCol>
              </a:tblGrid>
              <a:tr h="37227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2000" b="1" u="none" strike="noStrike" baseline="0" noProof="0" dirty="0">
                          <a:solidFill>
                            <a:schemeClr val="tx2"/>
                          </a:solidFill>
                        </a:rPr>
                        <a:t>Characteristic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2"/>
                          </a:solidFill>
                        </a:rPr>
                        <a:t>N = 9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83069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u="none" strike="noStrike" noProof="0" dirty="0">
                          <a:solidFill>
                            <a:schemeClr val="tx1"/>
                          </a:solidFill>
                        </a:rPr>
                        <a:t>Median age, years [range]</a:t>
                      </a: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u="none" strike="noStrike" baseline="0" noProof="0" dirty="0">
                          <a:solidFill>
                            <a:schemeClr val="tx1"/>
                          </a:solidFill>
                        </a:rPr>
                        <a:t>30 [12-63]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12684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8600" indent="-57150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12-18 years, n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3 (33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7607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Female, n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7 (78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84584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BM Blasts, % [range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u="none" strike="noStrike" baseline="0" noProof="0" dirty="0">
                          <a:solidFill>
                            <a:schemeClr val="tx1"/>
                          </a:solidFill>
                        </a:rPr>
                        <a:t>24 [4-45]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831473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285750" lvl="0" indent="-57150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AML, </a:t>
                      </a:r>
                      <a:r>
                        <a:rPr lang="en-US" sz="20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n (%)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8 (89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15451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57150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MPAL, </a:t>
                      </a:r>
                      <a:r>
                        <a:rPr lang="en-US" sz="20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n (%)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1 (11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9681924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Medullary and extramedullary</a:t>
                      </a:r>
                      <a:endParaRPr lang="en-US" sz="2000" dirty="0" err="1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1 (11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078166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Therapy-related AML</a:t>
                      </a:r>
                      <a:endParaRPr lang="en-US" sz="2000" b="0" i="0" u="none" strike="noStrike" noProof="0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2 (22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96356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Genotype, </a:t>
                      </a:r>
                      <a:r>
                        <a:rPr lang="en-US" sz="2000" b="0" i="0" u="none" strike="noStrike" noProof="0" dirty="0">
                          <a:solidFill>
                            <a:schemeClr val="tx1"/>
                          </a:solidFill>
                          <a:latin typeface="Calibri"/>
                        </a:rPr>
                        <a:t>n (%)</a:t>
                      </a: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47001327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285750" lvl="0" indent="-57150">
                        <a:buNone/>
                      </a:pPr>
                      <a:r>
                        <a:rPr lang="en-US" sz="2000" i="1" dirty="0">
                          <a:solidFill>
                            <a:schemeClr val="tx1"/>
                          </a:solidFill>
                        </a:rPr>
                        <a:t>KMT2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5 (56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1182788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285750" lvl="0" indent="-57150">
                        <a:buNone/>
                      </a:pPr>
                      <a:r>
                        <a:rPr lang="en-US" sz="2000" i="1" dirty="0">
                          <a:solidFill>
                            <a:schemeClr val="tx1"/>
                          </a:solidFill>
                        </a:rPr>
                        <a:t>NUP98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3 (33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678517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285750" lvl="0" indent="-57150">
                        <a:buNone/>
                      </a:pPr>
                      <a:r>
                        <a:rPr lang="en-US" sz="2000" i="1" dirty="0">
                          <a:solidFill>
                            <a:schemeClr val="tx1"/>
                          </a:solidFill>
                        </a:rPr>
                        <a:t>NPM1mt 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</a:rPr>
                        <a:t>1 (11%)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2700687"/>
                  </a:ext>
                </a:extLst>
              </a:tr>
            </a:tbl>
          </a:graphicData>
        </a:graphic>
      </p:graphicFrame>
      <p:graphicFrame>
        <p:nvGraphicFramePr>
          <p:cNvPr id="23" name="Table 22">
            <a:extLst>
              <a:ext uri="{FF2B5EF4-FFF2-40B4-BE49-F238E27FC236}">
                <a16:creationId xmlns:a16="http://schemas.microsoft.com/office/drawing/2014/main" id="{BE807F4F-8D6D-81CD-BD3C-7E4FE13A7862}"/>
              </a:ext>
            </a:extLst>
          </p:cNvPr>
          <p:cNvGraphicFramePr>
            <a:graphicFrameLocks noGrp="1"/>
          </p:cNvGraphicFramePr>
          <p:nvPr/>
        </p:nvGraphicFramePr>
        <p:xfrm>
          <a:off x="6511059" y="1128235"/>
          <a:ext cx="5120637" cy="4754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18407">
                  <a:extLst>
                    <a:ext uri="{9D8B030D-6E8A-4147-A177-3AD203B41FA5}">
                      <a16:colId xmlns:a16="http://schemas.microsoft.com/office/drawing/2014/main" val="1265628573"/>
                    </a:ext>
                  </a:extLst>
                </a:gridCol>
                <a:gridCol w="2102230">
                  <a:extLst>
                    <a:ext uri="{9D8B030D-6E8A-4147-A177-3AD203B41FA5}">
                      <a16:colId xmlns:a16="http://schemas.microsoft.com/office/drawing/2014/main" val="2778350750"/>
                    </a:ext>
                  </a:extLst>
                </a:gridCol>
              </a:tblGrid>
              <a:tr h="372274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2000" b="0" i="0" u="none" strike="noStrike" baseline="0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haracteristic</a:t>
                      </a:r>
                      <a:endParaRPr lang="en-US" sz="2000" u="none" strike="noStrike" baseline="0" noProof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200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= 9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6830695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b="0" i="0" u="none" strike="noStrike" baseline="0" noProof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-occurring mutations, </a:t>
                      </a:r>
                      <a:r>
                        <a:rPr lang="en-US" sz="2000" b="0" i="0" u="none" strike="noStrike" baseline="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(%)</a:t>
                      </a:r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3126842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8600" indent="-57150"/>
                      <a:r>
                        <a:rPr lang="en-US" sz="200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T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(44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8760706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228600" lvl="0" indent="-57150">
                        <a:buNone/>
                      </a:pPr>
                      <a:r>
                        <a:rPr lang="en-US" sz="200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33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2520025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228600" lvl="0" indent="-57150">
                        <a:buNone/>
                      </a:pPr>
                      <a:r>
                        <a:rPr lang="en-US" sz="200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DH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22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3144672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228600" lvl="0" indent="-57150">
                        <a:buNone/>
                      </a:pPr>
                      <a:r>
                        <a:rPr lang="en-US" sz="2000" i="1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LT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1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82428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evious therapies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84584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28600" lvl="0" indent="-57150">
                        <a:buNone/>
                      </a:pPr>
                      <a:r>
                        <a:rPr lang="en-US" sz="2000" b="0" i="0" u="none" strike="noStrike" baseline="0" noProof="0" dirty="0">
                          <a:solidFill>
                            <a:srgbClr val="00000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dian no. [range]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0" i="0" u="none" strike="noStrike" baseline="0" noProof="0" dirty="0">
                          <a:solidFill>
                            <a:srgbClr val="000000"/>
                          </a:solidFill>
                          <a:highlight>
                            <a:srgbClr val="FFFF00"/>
                          </a:highlight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[1-5]</a:t>
                      </a:r>
                      <a:endParaRPr lang="en-US" sz="2000" dirty="0"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5831473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171450" lvl="0">
                        <a:buNone/>
                      </a:pPr>
                      <a:r>
                        <a:rPr lang="en-US" sz="20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netoclax</a:t>
                      </a: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n (%)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(55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1545180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171450" lvl="0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in inhibitor, n (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1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419982"/>
                  </a:ext>
                </a:extLst>
              </a:tr>
              <a:tr h="370838">
                <a:tc>
                  <a:txBody>
                    <a:bodyPr/>
                    <a:lstStyle/>
                    <a:p>
                      <a:pPr marL="171450" lvl="0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SCT, n (%)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(67%)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80652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600" b="0" i="0" u="none" strike="noStrike" baseline="0" noProof="0" dirty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ta Cutoff 11/01/2023</a:t>
                      </a: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  <a:lnB w="28575">
                      <a:solidFill>
                        <a:schemeClr val="tx1"/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  <a:lnB w="28575">
                      <a:solidFill>
                        <a:schemeClr val="tx1"/>
                      </a:solidFill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7001327"/>
                  </a:ext>
                </a:extLst>
              </a:tr>
            </a:tbl>
          </a:graphicData>
        </a:graphic>
      </p:graphicFrame>
      <p:sp>
        <p:nvSpPr>
          <p:cNvPr id="2" name="Title 3">
            <a:extLst>
              <a:ext uri="{FF2B5EF4-FFF2-40B4-BE49-F238E27FC236}">
                <a16:creationId xmlns:a16="http://schemas.microsoft.com/office/drawing/2014/main" id="{C102735B-239A-1A26-4DDB-85E03E6EAF32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AVE: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DX +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TX727 + </a:t>
            </a:r>
            <a:r>
              <a:rPr kumimoji="0" lang="en-US" sz="3600" b="0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VE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etoclax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triplet </a:t>
            </a:r>
          </a:p>
        </p:txBody>
      </p:sp>
    </p:spTree>
    <p:extLst>
      <p:ext uri="{BB962C8B-B14F-4D97-AF65-F5344CB8AC3E}">
        <p14:creationId xmlns:p14="http://schemas.microsoft.com/office/powerpoint/2010/main" val="2196518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76E5D9-430B-90D8-3671-4601D3C52E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926"/>
            <a:ext cx="10515600" cy="766062"/>
          </a:xfrm>
        </p:spPr>
        <p:txBody>
          <a:bodyPr>
            <a:normAutofit/>
          </a:bodyPr>
          <a:lstStyle/>
          <a:p>
            <a:pPr algn="ctr"/>
            <a:r>
              <a:rPr lang="en-US" sz="2667" b="1" dirty="0">
                <a:latin typeface="Arial Narrow" panose="020B0606020202030204" pitchFamily="34" charset="0"/>
                <a:cs typeface="Arial" panose="020B0604020202020204" pitchFamily="34" charset="0"/>
              </a:rPr>
              <a:t>Younger patients particularly benefit from addition of </a:t>
            </a:r>
            <a:r>
              <a:rPr lang="en-US" sz="2667" b="1" dirty="0" err="1">
                <a:latin typeface="Arial Narrow" panose="020B0606020202030204" pitchFamily="34" charset="0"/>
                <a:cs typeface="Arial" panose="020B0604020202020204" pitchFamily="34" charset="0"/>
              </a:rPr>
              <a:t>quizartinib</a:t>
            </a:r>
            <a:endParaRPr lang="en-US" sz="2667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90C3ACB-3889-0037-941B-53A74EFDB99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008" y="1292461"/>
            <a:ext cx="5122647" cy="28449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BA99587-7652-7DAF-BDCD-ADA345938BA3}"/>
              </a:ext>
            </a:extLst>
          </p:cNvPr>
          <p:cNvSpPr txBox="1"/>
          <p:nvPr/>
        </p:nvSpPr>
        <p:spPr>
          <a:xfrm>
            <a:off x="3079728" y="2802346"/>
            <a:ext cx="8418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HR: 0.78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F76796-8591-6ACD-6122-4FD4496E6D1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8470" y="1334729"/>
            <a:ext cx="5328356" cy="284491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503C0F5-393A-FEE0-17FE-8EF1E52B02C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9875" y="5443413"/>
            <a:ext cx="3423429" cy="133622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474DB67C-1DAB-0881-0F38-5A10D527E233}"/>
              </a:ext>
            </a:extLst>
          </p:cNvPr>
          <p:cNvSpPr/>
          <p:nvPr/>
        </p:nvSpPr>
        <p:spPr>
          <a:xfrm>
            <a:off x="-10368" y="4744871"/>
            <a:ext cx="6682155" cy="20163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r>
              <a:rPr lang="en-US" dirty="0">
                <a:solidFill>
                  <a:prstClr val="black"/>
                </a:solidFill>
                <a:latin typeface="Calibri" panose="020F0502020204030204"/>
                <a:ea typeface="ＭＳ Ｐゴシック"/>
              </a:rPr>
              <a:t> 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9F9E255-B324-ED33-22E8-24F782CB0B9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1457" y="4316332"/>
            <a:ext cx="4581240" cy="236630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C51105-C8CB-FDBF-C488-9FE0E37E31E4}"/>
              </a:ext>
            </a:extLst>
          </p:cNvPr>
          <p:cNvSpPr txBox="1"/>
          <p:nvPr/>
        </p:nvSpPr>
        <p:spPr>
          <a:xfrm>
            <a:off x="6096000" y="857700"/>
            <a:ext cx="56865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600" b="1" dirty="0" err="1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QuANTUM</a:t>
            </a: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-First: &lt;60yr old and FLT-ITD: 4yr OS 60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909B2D-FBCE-A5D1-D5A3-403172AE19B9}"/>
              </a:ext>
            </a:extLst>
          </p:cNvPr>
          <p:cNvSpPr txBox="1"/>
          <p:nvPr/>
        </p:nvSpPr>
        <p:spPr>
          <a:xfrm>
            <a:off x="1659875" y="774988"/>
            <a:ext cx="33416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RATIFY, all &lt;60 years old and 25% FLT3-TKD: 4yr OS 51%</a:t>
            </a:r>
          </a:p>
        </p:txBody>
      </p:sp>
    </p:spTree>
    <p:extLst>
      <p:ext uri="{BB962C8B-B14F-4D97-AF65-F5344CB8AC3E}">
        <p14:creationId xmlns:p14="http://schemas.microsoft.com/office/powerpoint/2010/main" val="1439967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8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04D7CDB-792D-656B-EA2D-9771B22F26C5}"/>
              </a:ext>
            </a:extLst>
          </p:cNvPr>
          <p:cNvGraphicFramePr>
            <a:graphicFrameLocks noGrp="1"/>
          </p:cNvGraphicFramePr>
          <p:nvPr/>
        </p:nvGraphicFramePr>
        <p:xfrm>
          <a:off x="735806" y="1147404"/>
          <a:ext cx="10720388" cy="51816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868228">
                  <a:extLst>
                    <a:ext uri="{9D8B030D-6E8A-4147-A177-3AD203B41FA5}">
                      <a16:colId xmlns:a16="http://schemas.microsoft.com/office/drawing/2014/main" val="1265628573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778350750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3686583119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1952311912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3837503702"/>
                    </a:ext>
                  </a:extLst>
                </a:gridCol>
              </a:tblGrid>
              <a:tr h="692792"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2000" b="1" u="none" strike="noStrike" baseline="0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st Response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2000" b="1" u="none" strike="noStrike" baseline="0" noProof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 (%) 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l patients </a:t>
                      </a:r>
                    </a:p>
                    <a:p>
                      <a:pPr algn="ctr"/>
                      <a:r>
                        <a:rPr lang="en-US" sz="2000" b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 = 9)</a:t>
                      </a:r>
                    </a:p>
                  </a:txBody>
                  <a:tcPr>
                    <a:lnB w="28575">
                      <a:solidFill>
                        <a:schemeClr val="tx1"/>
                      </a:solidFill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MT2Ar</a:t>
                      </a:r>
                    </a:p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5)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UP98r</a:t>
                      </a:r>
                    </a:p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3)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i="1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PM1mt</a:t>
                      </a:r>
                    </a:p>
                    <a:p>
                      <a:pPr algn="ctr"/>
                      <a:r>
                        <a:rPr lang="en-US" sz="2000" b="1" i="0" dirty="0">
                          <a:solidFill>
                            <a:schemeClr val="bg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N=1)</a:t>
                      </a:r>
                    </a:p>
                  </a:txBody>
                  <a:tcPr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6830695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000" u="none" strike="noStrike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R </a:t>
                      </a: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u="none" strike="noStrike" baseline="0" noProof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(100%)</a:t>
                      </a:r>
                      <a:endParaRPr lang="en-US" sz="20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T w="28575">
                      <a:solidFill>
                        <a:schemeClr val="tx1"/>
                      </a:solidFill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(100%)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100%)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00%)</a:t>
                      </a:r>
                    </a:p>
                  </a:txBody>
                  <a:tcP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2684293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/</a:t>
                      </a:r>
                      <a:r>
                        <a:rPr lang="en-US" sz="2000" b="1" i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h</a:t>
                      </a:r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(44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60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8458457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60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831473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h</a:t>
                      </a:r>
                      <a:endParaRPr lang="en-US" sz="20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1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8055905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p</a:t>
                      </a:r>
                      <a:endParaRPr lang="en-US" sz="20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(40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00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0377190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 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1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9064564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31775" indent="0"/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LFS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11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(33%)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579513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00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RD neg by MF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/9 (67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5 (8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3 (33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 (100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71182788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285750" lvl="0" indent="-57150">
                        <a:buNone/>
                      </a:pPr>
                      <a:r>
                        <a:rPr lang="en-US" sz="2000" i="1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thin CR/</a:t>
                      </a:r>
                      <a:r>
                        <a:rPr lang="en-US" sz="2000" i="1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h</a:t>
                      </a:r>
                      <a:endParaRPr lang="en-US" sz="2000" i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4 (10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/3 (10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 (100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1 (100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9678517"/>
                  </a:ext>
                </a:extLst>
              </a:tr>
              <a:tr h="391578">
                <a:tc>
                  <a:txBody>
                    <a:bodyPr/>
                    <a:lstStyle/>
                    <a:p>
                      <a:pPr marL="3175" lvl="0" indent="-3175">
                        <a:buNone/>
                      </a:pPr>
                      <a:r>
                        <a:rPr lang="en-US" sz="200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plete cytogenetic remission by FISH  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/8 (63%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/5 (80%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/3 (33%)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A</a:t>
                      </a:r>
                    </a:p>
                  </a:txBody>
                  <a:tcPr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700687"/>
                  </a:ext>
                </a:extLst>
              </a:tr>
              <a:tr h="512064">
                <a:tc gridSpan="5">
                  <a:txBody>
                    <a:bodyPr/>
                    <a:lstStyle/>
                    <a:p>
                      <a:pPr marL="3175" lvl="0" indent="-3175" algn="l">
                        <a:buNone/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verall Response Rate (ORR) = CR + </a:t>
                      </a:r>
                      <a:r>
                        <a:rPr lang="en-US" sz="1400" i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h</a:t>
                      </a: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+ </a:t>
                      </a:r>
                      <a:r>
                        <a:rPr lang="en-US" sz="1400" i="0" dirty="0" err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p</a:t>
                      </a:r>
                      <a:r>
                        <a:rPr lang="en-US" sz="140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+ PR + MLFS. Complete cytogenetic remission in which fusions were not detectable by fluorescence in situ hybridization (FISH).</a:t>
                      </a: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20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730328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8ACA1BA-FD6A-3469-2D7C-4947BA4D1CA5}"/>
              </a:ext>
            </a:extLst>
          </p:cNvPr>
          <p:cNvSpPr/>
          <p:nvPr/>
        </p:nvSpPr>
        <p:spPr>
          <a:xfrm>
            <a:off x="507917" y="1831748"/>
            <a:ext cx="6527346" cy="125776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DAD6551-6C35-432A-6D18-825B473F74BE}"/>
              </a:ext>
            </a:extLst>
          </p:cNvPr>
          <p:cNvSpPr/>
          <p:nvPr/>
        </p:nvSpPr>
        <p:spPr>
          <a:xfrm>
            <a:off x="507917" y="4533331"/>
            <a:ext cx="6527346" cy="125776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E4CB4451-9CCA-45E9-6AB4-18BB296229DC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AVE: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DX +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TX727 + </a:t>
            </a:r>
            <a:r>
              <a:rPr kumimoji="0" lang="en-US" sz="3600" b="0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VE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etoclax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triple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063BB3-840F-4635-D492-0863D17AB594}"/>
              </a:ext>
            </a:extLst>
          </p:cNvPr>
          <p:cNvSpPr txBox="1"/>
          <p:nvPr/>
        </p:nvSpPr>
        <p:spPr>
          <a:xfrm>
            <a:off x="200227" y="6249123"/>
            <a:ext cx="114735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an f/u 6.5 mo.  Median RFS and OS not reached with 2 pts in ongoing remission beyond 11 months </a:t>
            </a:r>
          </a:p>
        </p:txBody>
      </p:sp>
    </p:spTree>
    <p:extLst>
      <p:ext uri="{BB962C8B-B14F-4D97-AF65-F5344CB8AC3E}">
        <p14:creationId xmlns:p14="http://schemas.microsoft.com/office/powerpoint/2010/main" val="307194551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05990B7-25F1-42EF-965F-02F51EEA85E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9229" y="1147925"/>
            <a:ext cx="11473542" cy="4947903"/>
          </a:xfrm>
        </p:spPr>
        <p:txBody>
          <a:bodyPr lIns="91440" tIns="45720" rIns="91440" bIns="45720" anchor="t"/>
          <a:lstStyle/>
          <a:p>
            <a:pPr marL="456565" indent="-456565"/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Early results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of all-oral SAVE 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[</a:t>
            </a:r>
            <a:r>
              <a:rPr lang="en-US" sz="2000" b="1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revumenib</a:t>
            </a:r>
            <a:r>
              <a:rPr lang="en-US" sz="2000" b="1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 (</a:t>
            </a:r>
            <a:r>
              <a:rPr lang="en-US" sz="2000" b="1" u="sng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S</a:t>
            </a:r>
            <a:r>
              <a:rPr lang="en-US" sz="2000" b="1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NDX-5613)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, </a:t>
            </a:r>
            <a:r>
              <a:rPr lang="en-US" sz="2000" b="1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oral decitabine (</a:t>
            </a:r>
            <a:r>
              <a:rPr lang="en-US" sz="2000" b="1" u="sng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A</a:t>
            </a:r>
            <a:r>
              <a:rPr lang="en-US" sz="2000" b="1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STX727)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 and </a:t>
            </a:r>
            <a:r>
              <a:rPr lang="en-US" sz="2000" b="1" u="sng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VE</a:t>
            </a:r>
            <a:r>
              <a:rPr lang="en-US" sz="2000" b="1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netoclax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] → acceptable safety and high efficacy in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children and adults 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with R/R AML susceptible to </a:t>
            </a:r>
            <a:r>
              <a:rPr lang="en-US" sz="2000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menin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 inhibition</a:t>
            </a:r>
          </a:p>
          <a:p>
            <a:pPr marL="456565" indent="-456565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High rates of response in heavily pretreated population</a:t>
            </a:r>
          </a:p>
          <a:p>
            <a:pPr marL="989965" lvl="1" indent="-380365"/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ORR 100% 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(9/9),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CR/</a:t>
            </a:r>
            <a:r>
              <a:rPr lang="en-US" sz="2000" b="1" dirty="0" err="1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CRh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 44% 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(4/9), </a:t>
            </a:r>
            <a:r>
              <a:rPr lang="en-US" sz="2000" b="1" dirty="0">
                <a:solidFill>
                  <a:srgbClr val="C00000"/>
                </a:solidFill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MRD-neg 67% 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(6/9)</a:t>
            </a:r>
          </a:p>
          <a:p>
            <a:pPr marL="989965" lvl="1" indent="-380365"/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5/9 patients to </a:t>
            </a:r>
            <a:r>
              <a:rPr lang="en-US" sz="2000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alloHSCT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, 2 resumed </a:t>
            </a:r>
            <a:r>
              <a:rPr lang="en-US" sz="2000" dirty="0" err="1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revumenib</a:t>
            </a:r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 maintenance with ongoing remission &gt; 11 months </a:t>
            </a:r>
          </a:p>
          <a:p>
            <a:pPr marL="456579" indent="-380365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No severe differentiation syndrome or ≥Grade 3 QT prolongation </a:t>
            </a:r>
            <a:endParaRPr lang="en-US" sz="2000" dirty="0">
              <a:latin typeface="Calibri" panose="020F0502020204030204" pitchFamily="34" charset="0"/>
              <a:ea typeface="Geneva"/>
              <a:cs typeface="Calibri" panose="020F0502020204030204" pitchFamily="34" charset="0"/>
            </a:endParaRPr>
          </a:p>
          <a:p>
            <a:pPr marL="456579" indent="-380365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Myelosuppression, confounded by expected risk with HMA + Ven in R/R AML </a:t>
            </a:r>
          </a:p>
          <a:p>
            <a:pPr marL="989965" lvl="1" indent="-380365"/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Future mitigation measures to include intermittent </a:t>
            </a:r>
            <a:r>
              <a:rPr lang="en-US" sz="2000" dirty="0" err="1">
                <a:latin typeface="Calibri" panose="020F0502020204030204" pitchFamily="34" charset="0"/>
                <a:cs typeface="Calibri" panose="020F0502020204030204" pitchFamily="34" charset="0"/>
              </a:rPr>
              <a:t>revumenib</a:t>
            </a:r>
            <a:r>
              <a:rPr lang="en-US" sz="2000" dirty="0">
                <a:latin typeface="Calibri" panose="020F0502020204030204" pitchFamily="34" charset="0"/>
                <a:cs typeface="Calibri" panose="020F0502020204030204" pitchFamily="34" charset="0"/>
              </a:rPr>
              <a:t> dosing, without compromising efficacy given clearance of leukemia by day 14   </a:t>
            </a:r>
          </a:p>
          <a:p>
            <a:pPr marL="456565" indent="-456565"/>
            <a:r>
              <a:rPr lang="en-US" sz="2000" dirty="0">
                <a:latin typeface="Calibri" panose="020F0502020204030204" pitchFamily="34" charset="0"/>
                <a:ea typeface="Geneva"/>
                <a:cs typeface="Calibri" panose="020F0502020204030204" pitchFamily="34" charset="0"/>
              </a:rPr>
              <a:t>This study continues to accrue patients </a:t>
            </a:r>
            <a:endParaRPr 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itle 3">
            <a:extLst>
              <a:ext uri="{FF2B5EF4-FFF2-40B4-BE49-F238E27FC236}">
                <a16:creationId xmlns:a16="http://schemas.microsoft.com/office/drawing/2014/main" id="{66E68B69-639F-EF24-B1CB-8935E8461992}"/>
              </a:ext>
            </a:extLst>
          </p:cNvPr>
          <p:cNvSpPr txBox="1">
            <a:spLocks/>
          </p:cNvSpPr>
          <p:nvPr/>
        </p:nvSpPr>
        <p:spPr>
          <a:xfrm>
            <a:off x="0" y="239545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AVE: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DX +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A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STX727 + </a:t>
            </a:r>
            <a:r>
              <a:rPr kumimoji="0" lang="en-US" sz="3600" b="0" i="0" u="sng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VE</a:t>
            </a: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netoclax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triplet </a:t>
            </a:r>
          </a:p>
        </p:txBody>
      </p:sp>
    </p:spTree>
    <p:extLst>
      <p:ext uri="{BB962C8B-B14F-4D97-AF65-F5344CB8AC3E}">
        <p14:creationId xmlns:p14="http://schemas.microsoft.com/office/powerpoint/2010/main" val="260951030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F929B9-3E3A-3D68-5AAA-BA964357FA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0447"/>
            <a:ext cx="10972800" cy="713539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Generalized 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B06E4F-1149-E1B8-7050-A6369351B0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AML therapeutic options continue to improve with increasingly individualized treatmen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Monitoring MRD is essential for ongoing risk assessment, and we now have studies showing that acting on MRD can improve patient outcom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/>
              <a:t>Menin inhibitors are a new effective class of therapy in AML, with initial studies evaluating patients with R/R </a:t>
            </a:r>
            <a:r>
              <a:rPr lang="en-US" i="1" dirty="0"/>
              <a:t>NPM1</a:t>
            </a:r>
            <a:r>
              <a:rPr lang="en-US" dirty="0"/>
              <a:t> and </a:t>
            </a:r>
            <a:r>
              <a:rPr lang="en-US" i="1" dirty="0"/>
              <a:t>KMT2A-rearranged</a:t>
            </a:r>
            <a:r>
              <a:rPr lang="en-US" dirty="0"/>
              <a:t> leukemias </a:t>
            </a:r>
          </a:p>
        </p:txBody>
      </p:sp>
    </p:spTree>
    <p:extLst>
      <p:ext uri="{BB962C8B-B14F-4D97-AF65-F5344CB8AC3E}">
        <p14:creationId xmlns:p14="http://schemas.microsoft.com/office/powerpoint/2010/main" val="675949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4" name="Table 2153">
            <a:extLst>
              <a:ext uri="{FF2B5EF4-FFF2-40B4-BE49-F238E27FC236}">
                <a16:creationId xmlns:a16="http://schemas.microsoft.com/office/drawing/2014/main" id="{FBFF0280-8ED0-E354-C461-16C8B6588F1A}"/>
              </a:ext>
            </a:extLst>
          </p:cNvPr>
          <p:cNvGraphicFramePr>
            <a:graphicFrameLocks noGrp="1"/>
          </p:cNvGraphicFramePr>
          <p:nvPr/>
        </p:nvGraphicFramePr>
        <p:xfrm>
          <a:off x="4974346" y="3569764"/>
          <a:ext cx="2845647" cy="106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07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106553"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</a:tbl>
          </a:graphicData>
        </a:graphic>
      </p:graphicFrame>
      <p:pic>
        <p:nvPicPr>
          <p:cNvPr id="2153" name="Graphic 2152">
            <a:extLst>
              <a:ext uri="{FF2B5EF4-FFF2-40B4-BE49-F238E27FC236}">
                <a16:creationId xmlns:a16="http://schemas.microsoft.com/office/drawing/2014/main" id="{CCC4D22A-0E85-68C8-7355-D368759415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95377" y="2087702"/>
            <a:ext cx="2972635" cy="149226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D2C80CA-DB56-F7F6-1591-C1FE990BD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/>
          <a:lstStyle/>
          <a:p>
            <a:r>
              <a:rPr lang="en-US" dirty="0"/>
              <a:t> </a:t>
            </a:r>
          </a:p>
        </p:txBody>
      </p:sp>
      <p:pic>
        <p:nvPicPr>
          <p:cNvPr id="1365" name="Picture 1364">
            <a:extLst>
              <a:ext uri="{FF2B5EF4-FFF2-40B4-BE49-F238E27FC236}">
                <a16:creationId xmlns:a16="http://schemas.microsoft.com/office/drawing/2014/main" id="{5D2B5D67-2F3C-BAAE-5B19-ED55C98CDD5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9406" y="2153347"/>
            <a:ext cx="3684335" cy="1967147"/>
          </a:xfrm>
          <a:prstGeom prst="rect">
            <a:avLst/>
          </a:prstGeom>
        </p:spPr>
      </p:pic>
      <p:pic>
        <p:nvPicPr>
          <p:cNvPr id="1487" name="Picture 1486">
            <a:extLst>
              <a:ext uri="{FF2B5EF4-FFF2-40B4-BE49-F238E27FC236}">
                <a16:creationId xmlns:a16="http://schemas.microsoft.com/office/drawing/2014/main" id="{DEFF5B2D-1364-5FBD-6EE4-8D03FD31D0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5341" y="4426270"/>
            <a:ext cx="3688400" cy="1973243"/>
          </a:xfrm>
          <a:prstGeom prst="rect">
            <a:avLst/>
          </a:prstGeom>
        </p:spPr>
      </p:pic>
      <p:sp>
        <p:nvSpPr>
          <p:cNvPr id="1493" name="TextBox 1492">
            <a:extLst>
              <a:ext uri="{FF2B5EF4-FFF2-40B4-BE49-F238E27FC236}">
                <a16:creationId xmlns:a16="http://schemas.microsoft.com/office/drawing/2014/main" id="{7614D23D-1567-331A-FF86-17C4F1B1E765}"/>
              </a:ext>
            </a:extLst>
          </p:cNvPr>
          <p:cNvSpPr txBox="1"/>
          <p:nvPr/>
        </p:nvSpPr>
        <p:spPr>
          <a:xfrm rot="16200000">
            <a:off x="229130" y="2732640"/>
            <a:ext cx="1146126" cy="194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sp>
        <p:nvSpPr>
          <p:cNvPr id="1494" name="TextBox 1493">
            <a:extLst>
              <a:ext uri="{FF2B5EF4-FFF2-40B4-BE49-F238E27FC236}">
                <a16:creationId xmlns:a16="http://schemas.microsoft.com/office/drawing/2014/main" id="{E82C6F71-B110-72F5-7FA0-D04A90D5CC82}"/>
              </a:ext>
            </a:extLst>
          </p:cNvPr>
          <p:cNvSpPr txBox="1"/>
          <p:nvPr/>
        </p:nvSpPr>
        <p:spPr>
          <a:xfrm>
            <a:off x="2508432" y="3113428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29.4 months</a:t>
            </a:r>
          </a:p>
        </p:txBody>
      </p:sp>
      <p:sp>
        <p:nvSpPr>
          <p:cNvPr id="1495" name="TextBox 1494">
            <a:extLst>
              <a:ext uri="{FF2B5EF4-FFF2-40B4-BE49-F238E27FC236}">
                <a16:creationId xmlns:a16="http://schemas.microsoft.com/office/drawing/2014/main" id="{3D8D66AC-E8A2-C958-5954-98C812F3E56B}"/>
              </a:ext>
            </a:extLst>
          </p:cNvPr>
          <p:cNvSpPr txBox="1"/>
          <p:nvPr/>
        </p:nvSpPr>
        <p:spPr>
          <a:xfrm>
            <a:off x="1026624" y="3225364"/>
            <a:ext cx="1315095" cy="3488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562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398-0.794</a:t>
            </a:r>
          </a:p>
        </p:txBody>
      </p:sp>
      <p:sp>
        <p:nvSpPr>
          <p:cNvPr id="1496" name="TextBox 1495">
            <a:extLst>
              <a:ext uri="{FF2B5EF4-FFF2-40B4-BE49-F238E27FC236}">
                <a16:creationId xmlns:a16="http://schemas.microsoft.com/office/drawing/2014/main" id="{3D7FA4C4-0AAD-8235-64F9-6A2CFAF89B02}"/>
              </a:ext>
            </a:extLst>
          </p:cNvPr>
          <p:cNvSpPr txBox="1"/>
          <p:nvPr/>
        </p:nvSpPr>
        <p:spPr>
          <a:xfrm>
            <a:off x="3166257" y="2221265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1497" name="TextBox 1496">
            <a:extLst>
              <a:ext uri="{FF2B5EF4-FFF2-40B4-BE49-F238E27FC236}">
                <a16:creationId xmlns:a16="http://schemas.microsoft.com/office/drawing/2014/main" id="{ECEE0548-E258-59E3-14C6-565D3216942E}"/>
              </a:ext>
            </a:extLst>
          </p:cNvPr>
          <p:cNvSpPr txBox="1"/>
          <p:nvPr/>
        </p:nvSpPr>
        <p:spPr>
          <a:xfrm>
            <a:off x="1055529" y="3609926"/>
            <a:ext cx="317874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138; Q n=77, P n=61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83; Q n=85, P n=98)</a:t>
            </a:r>
          </a:p>
        </p:txBody>
      </p:sp>
      <p:cxnSp>
        <p:nvCxnSpPr>
          <p:cNvPr id="1498" name="Straight Connector 1497">
            <a:extLst>
              <a:ext uri="{FF2B5EF4-FFF2-40B4-BE49-F238E27FC236}">
                <a16:creationId xmlns:a16="http://schemas.microsoft.com/office/drawing/2014/main" id="{F348DE30-362E-A28D-615F-C8F9CDC36D6C}"/>
              </a:ext>
            </a:extLst>
          </p:cNvPr>
          <p:cNvCxnSpPr>
            <a:cxnSpLocks/>
          </p:cNvCxnSpPr>
          <p:nvPr/>
        </p:nvCxnSpPr>
        <p:spPr>
          <a:xfrm>
            <a:off x="1242418" y="3792707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9" name="Straight Connector 1498">
            <a:extLst>
              <a:ext uri="{FF2B5EF4-FFF2-40B4-BE49-F238E27FC236}">
                <a16:creationId xmlns:a16="http://schemas.microsoft.com/office/drawing/2014/main" id="{A66C6D46-CDA5-6BDD-879F-BC9D3CCDB45C}"/>
              </a:ext>
            </a:extLst>
          </p:cNvPr>
          <p:cNvCxnSpPr>
            <a:cxnSpLocks/>
          </p:cNvCxnSpPr>
          <p:nvPr/>
        </p:nvCxnSpPr>
        <p:spPr>
          <a:xfrm>
            <a:off x="2683402" y="3798045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4" name="TextBox 1503">
            <a:extLst>
              <a:ext uri="{FF2B5EF4-FFF2-40B4-BE49-F238E27FC236}">
                <a16:creationId xmlns:a16="http://schemas.microsoft.com/office/drawing/2014/main" id="{CF050CB7-2550-77BF-83B2-710FBB460467}"/>
              </a:ext>
            </a:extLst>
          </p:cNvPr>
          <p:cNvSpPr txBox="1"/>
          <p:nvPr/>
        </p:nvSpPr>
        <p:spPr>
          <a:xfrm>
            <a:off x="3555718" y="3031226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183)</a:t>
            </a:r>
          </a:p>
        </p:txBody>
      </p:sp>
      <p:sp>
        <p:nvSpPr>
          <p:cNvPr id="1505" name="TextBox 1504">
            <a:extLst>
              <a:ext uri="{FF2B5EF4-FFF2-40B4-BE49-F238E27FC236}">
                <a16:creationId xmlns:a16="http://schemas.microsoft.com/office/drawing/2014/main" id="{9CC941A9-3BFC-920F-2CAD-F11E8E115BD1}"/>
              </a:ext>
            </a:extLst>
          </p:cNvPr>
          <p:cNvSpPr txBox="1"/>
          <p:nvPr/>
        </p:nvSpPr>
        <p:spPr>
          <a:xfrm>
            <a:off x="3581325" y="2566929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38)</a:t>
            </a:r>
          </a:p>
        </p:txBody>
      </p:sp>
      <p:sp>
        <p:nvSpPr>
          <p:cNvPr id="1506" name="TextBox 1505">
            <a:extLst>
              <a:ext uri="{FF2B5EF4-FFF2-40B4-BE49-F238E27FC236}">
                <a16:creationId xmlns:a16="http://schemas.microsoft.com/office/drawing/2014/main" id="{7987472F-8871-637E-34A6-6148EE298AAF}"/>
              </a:ext>
            </a:extLst>
          </p:cNvPr>
          <p:cNvSpPr txBox="1"/>
          <p:nvPr/>
        </p:nvSpPr>
        <p:spPr>
          <a:xfrm>
            <a:off x="1869794" y="4239543"/>
            <a:ext cx="151944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RD Cutoff: 0</a:t>
            </a:r>
          </a:p>
        </p:txBody>
      </p:sp>
      <p:sp>
        <p:nvSpPr>
          <p:cNvPr id="1507" name="TextBox 1506">
            <a:extLst>
              <a:ext uri="{FF2B5EF4-FFF2-40B4-BE49-F238E27FC236}">
                <a16:creationId xmlns:a16="http://schemas.microsoft.com/office/drawing/2014/main" id="{4C1BE53D-D59E-D764-FC75-C3871D441FF4}"/>
              </a:ext>
            </a:extLst>
          </p:cNvPr>
          <p:cNvSpPr txBox="1"/>
          <p:nvPr/>
        </p:nvSpPr>
        <p:spPr>
          <a:xfrm rot="16200000">
            <a:off x="222780" y="5021815"/>
            <a:ext cx="1146126" cy="194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sp>
        <p:nvSpPr>
          <p:cNvPr id="1508" name="TextBox 1507">
            <a:extLst>
              <a:ext uri="{FF2B5EF4-FFF2-40B4-BE49-F238E27FC236}">
                <a16:creationId xmlns:a16="http://schemas.microsoft.com/office/drawing/2014/main" id="{79312A3C-6266-A9E9-1DE3-41917EFBB692}"/>
              </a:ext>
            </a:extLst>
          </p:cNvPr>
          <p:cNvSpPr txBox="1"/>
          <p:nvPr/>
        </p:nvSpPr>
        <p:spPr>
          <a:xfrm>
            <a:off x="2502082" y="5384242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48.6 months</a:t>
            </a:r>
          </a:p>
        </p:txBody>
      </p:sp>
      <p:sp>
        <p:nvSpPr>
          <p:cNvPr id="1509" name="TextBox 1508">
            <a:extLst>
              <a:ext uri="{FF2B5EF4-FFF2-40B4-BE49-F238E27FC236}">
                <a16:creationId xmlns:a16="http://schemas.microsoft.com/office/drawing/2014/main" id="{48494110-6E65-EA5E-E08D-5A36C5EA38CA}"/>
              </a:ext>
            </a:extLst>
          </p:cNvPr>
          <p:cNvSpPr txBox="1"/>
          <p:nvPr/>
        </p:nvSpPr>
        <p:spPr>
          <a:xfrm>
            <a:off x="1020274" y="5496177"/>
            <a:ext cx="1315095" cy="3488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722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450-1.159</a:t>
            </a:r>
          </a:p>
        </p:txBody>
      </p:sp>
      <p:sp>
        <p:nvSpPr>
          <p:cNvPr id="1510" name="TextBox 1509">
            <a:extLst>
              <a:ext uri="{FF2B5EF4-FFF2-40B4-BE49-F238E27FC236}">
                <a16:creationId xmlns:a16="http://schemas.microsoft.com/office/drawing/2014/main" id="{E35B2B13-1FF7-CB0A-85AA-5522709894F1}"/>
              </a:ext>
            </a:extLst>
          </p:cNvPr>
          <p:cNvSpPr txBox="1"/>
          <p:nvPr/>
        </p:nvSpPr>
        <p:spPr>
          <a:xfrm>
            <a:off x="3159907" y="4510440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1511" name="TextBox 1510">
            <a:extLst>
              <a:ext uri="{FF2B5EF4-FFF2-40B4-BE49-F238E27FC236}">
                <a16:creationId xmlns:a16="http://schemas.microsoft.com/office/drawing/2014/main" id="{EF911EFF-7810-EDCC-102C-B447E73E44A2}"/>
              </a:ext>
            </a:extLst>
          </p:cNvPr>
          <p:cNvSpPr txBox="1"/>
          <p:nvPr/>
        </p:nvSpPr>
        <p:spPr>
          <a:xfrm>
            <a:off x="1049179" y="5899101"/>
            <a:ext cx="317874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53; Q n=34, P n=19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268; Q n=128, P n=140)</a:t>
            </a:r>
          </a:p>
        </p:txBody>
      </p:sp>
      <p:cxnSp>
        <p:nvCxnSpPr>
          <p:cNvPr id="1512" name="Straight Connector 1511">
            <a:extLst>
              <a:ext uri="{FF2B5EF4-FFF2-40B4-BE49-F238E27FC236}">
                <a16:creationId xmlns:a16="http://schemas.microsoft.com/office/drawing/2014/main" id="{B9F5BE4C-4BAC-103C-CDAD-BFF615D0B864}"/>
              </a:ext>
            </a:extLst>
          </p:cNvPr>
          <p:cNvCxnSpPr>
            <a:cxnSpLocks/>
          </p:cNvCxnSpPr>
          <p:nvPr/>
        </p:nvCxnSpPr>
        <p:spPr>
          <a:xfrm>
            <a:off x="1216209" y="6085143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3" name="Straight Connector 1512">
            <a:extLst>
              <a:ext uri="{FF2B5EF4-FFF2-40B4-BE49-F238E27FC236}">
                <a16:creationId xmlns:a16="http://schemas.microsoft.com/office/drawing/2014/main" id="{3081DD72-BC85-5699-2649-225208915572}"/>
              </a:ext>
            </a:extLst>
          </p:cNvPr>
          <p:cNvCxnSpPr>
            <a:cxnSpLocks/>
          </p:cNvCxnSpPr>
          <p:nvPr/>
        </p:nvCxnSpPr>
        <p:spPr>
          <a:xfrm>
            <a:off x="2600103" y="6089703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4" name="TextBox 1513">
            <a:extLst>
              <a:ext uri="{FF2B5EF4-FFF2-40B4-BE49-F238E27FC236}">
                <a16:creationId xmlns:a16="http://schemas.microsoft.com/office/drawing/2014/main" id="{D502D23C-4D7A-4895-B660-0B8E18397A91}"/>
              </a:ext>
            </a:extLst>
          </p:cNvPr>
          <p:cNvSpPr txBox="1"/>
          <p:nvPr/>
        </p:nvSpPr>
        <p:spPr>
          <a:xfrm>
            <a:off x="3476105" y="5234734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268)</a:t>
            </a:r>
          </a:p>
        </p:txBody>
      </p:sp>
      <p:sp>
        <p:nvSpPr>
          <p:cNvPr id="1515" name="TextBox 1514">
            <a:extLst>
              <a:ext uri="{FF2B5EF4-FFF2-40B4-BE49-F238E27FC236}">
                <a16:creationId xmlns:a16="http://schemas.microsoft.com/office/drawing/2014/main" id="{50DF67DE-FE33-C7A8-763C-7B4E716C2126}"/>
              </a:ext>
            </a:extLst>
          </p:cNvPr>
          <p:cNvSpPr txBox="1"/>
          <p:nvPr/>
        </p:nvSpPr>
        <p:spPr>
          <a:xfrm>
            <a:off x="3366818" y="4842894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53)</a:t>
            </a:r>
          </a:p>
        </p:txBody>
      </p:sp>
      <p:sp>
        <p:nvSpPr>
          <p:cNvPr id="1524" name="Rectangle 1523">
            <a:extLst>
              <a:ext uri="{FF2B5EF4-FFF2-40B4-BE49-F238E27FC236}">
                <a16:creationId xmlns:a16="http://schemas.microsoft.com/office/drawing/2014/main" id="{025D5FC6-6732-29BB-9164-4A2DC7EEB3FA}"/>
              </a:ext>
            </a:extLst>
          </p:cNvPr>
          <p:cNvSpPr/>
          <p:nvPr/>
        </p:nvSpPr>
        <p:spPr>
          <a:xfrm>
            <a:off x="7283812" y="2135624"/>
            <a:ext cx="545100" cy="4701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5" name="Rectangle 1524">
            <a:extLst>
              <a:ext uri="{FF2B5EF4-FFF2-40B4-BE49-F238E27FC236}">
                <a16:creationId xmlns:a16="http://schemas.microsoft.com/office/drawing/2014/main" id="{C0F93F63-F2F0-F881-CDC7-2E2F2C488C85}"/>
              </a:ext>
            </a:extLst>
          </p:cNvPr>
          <p:cNvSpPr/>
          <p:nvPr/>
        </p:nvSpPr>
        <p:spPr>
          <a:xfrm>
            <a:off x="5665154" y="3686175"/>
            <a:ext cx="1374183" cy="24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26" name="TextBox 1525">
            <a:extLst>
              <a:ext uri="{FF2B5EF4-FFF2-40B4-BE49-F238E27FC236}">
                <a16:creationId xmlns:a16="http://schemas.microsoft.com/office/drawing/2014/main" id="{71C50153-F42F-DD6D-6192-894BA18BA567}"/>
              </a:ext>
            </a:extLst>
          </p:cNvPr>
          <p:cNvSpPr txBox="1"/>
          <p:nvPr/>
        </p:nvSpPr>
        <p:spPr>
          <a:xfrm>
            <a:off x="4523924" y="2108240"/>
            <a:ext cx="347178" cy="14359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27" name="TextBox 1526">
            <a:extLst>
              <a:ext uri="{FF2B5EF4-FFF2-40B4-BE49-F238E27FC236}">
                <a16:creationId xmlns:a16="http://schemas.microsoft.com/office/drawing/2014/main" id="{227A3451-BF9F-66BF-F68B-5631DFF15F5D}"/>
              </a:ext>
            </a:extLst>
          </p:cNvPr>
          <p:cNvSpPr txBox="1"/>
          <p:nvPr/>
        </p:nvSpPr>
        <p:spPr>
          <a:xfrm rot="16200000">
            <a:off x="4121217" y="2660553"/>
            <a:ext cx="1035856" cy="194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sp>
        <p:nvSpPr>
          <p:cNvPr id="1520" name="TextBox 1519">
            <a:extLst>
              <a:ext uri="{FF2B5EF4-FFF2-40B4-BE49-F238E27FC236}">
                <a16:creationId xmlns:a16="http://schemas.microsoft.com/office/drawing/2014/main" id="{CD7998FC-25F1-6B79-79EC-A1A8962CB099}"/>
              </a:ext>
            </a:extLst>
          </p:cNvPr>
          <p:cNvSpPr txBox="1"/>
          <p:nvPr/>
        </p:nvSpPr>
        <p:spPr>
          <a:xfrm>
            <a:off x="7019285" y="2260563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1518" name="TextBox 1517">
            <a:extLst>
              <a:ext uri="{FF2B5EF4-FFF2-40B4-BE49-F238E27FC236}">
                <a16:creationId xmlns:a16="http://schemas.microsoft.com/office/drawing/2014/main" id="{8C47DB75-6F2A-E877-EF8C-DCF5DA3B080D}"/>
              </a:ext>
            </a:extLst>
          </p:cNvPr>
          <p:cNvSpPr txBox="1"/>
          <p:nvPr/>
        </p:nvSpPr>
        <p:spPr>
          <a:xfrm>
            <a:off x="6361460" y="3134364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21.9 months</a:t>
            </a:r>
          </a:p>
        </p:txBody>
      </p:sp>
      <p:sp>
        <p:nvSpPr>
          <p:cNvPr id="1519" name="TextBox 1518">
            <a:extLst>
              <a:ext uri="{FF2B5EF4-FFF2-40B4-BE49-F238E27FC236}">
                <a16:creationId xmlns:a16="http://schemas.microsoft.com/office/drawing/2014/main" id="{CC3FE170-9F69-2C2B-DACA-6879B2179938}"/>
              </a:ext>
            </a:extLst>
          </p:cNvPr>
          <p:cNvSpPr txBox="1"/>
          <p:nvPr/>
        </p:nvSpPr>
        <p:spPr>
          <a:xfrm>
            <a:off x="4879652" y="3237119"/>
            <a:ext cx="1352572" cy="3488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525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376-0.731</a:t>
            </a:r>
          </a:p>
        </p:txBody>
      </p:sp>
      <p:sp>
        <p:nvSpPr>
          <p:cNvPr id="1522" name="TextBox 1521">
            <a:extLst>
              <a:ext uri="{FF2B5EF4-FFF2-40B4-BE49-F238E27FC236}">
                <a16:creationId xmlns:a16="http://schemas.microsoft.com/office/drawing/2014/main" id="{06D2A088-22DD-22AC-C5B3-3CECF6A25EFF}"/>
              </a:ext>
            </a:extLst>
          </p:cNvPr>
          <p:cNvSpPr txBox="1"/>
          <p:nvPr/>
        </p:nvSpPr>
        <p:spPr>
          <a:xfrm>
            <a:off x="6999448" y="2969959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166)</a:t>
            </a:r>
          </a:p>
        </p:txBody>
      </p:sp>
      <p:sp>
        <p:nvSpPr>
          <p:cNvPr id="1523" name="TextBox 1522">
            <a:extLst>
              <a:ext uri="{FF2B5EF4-FFF2-40B4-BE49-F238E27FC236}">
                <a16:creationId xmlns:a16="http://schemas.microsoft.com/office/drawing/2014/main" id="{141CF450-D37E-972B-87E6-CD486A9644B0}"/>
              </a:ext>
            </a:extLst>
          </p:cNvPr>
          <p:cNvSpPr txBox="1"/>
          <p:nvPr/>
        </p:nvSpPr>
        <p:spPr>
          <a:xfrm>
            <a:off x="7260754" y="2502809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62)</a:t>
            </a:r>
          </a:p>
        </p:txBody>
      </p:sp>
      <p:sp>
        <p:nvSpPr>
          <p:cNvPr id="1521" name="TextBox 1520">
            <a:extLst>
              <a:ext uri="{FF2B5EF4-FFF2-40B4-BE49-F238E27FC236}">
                <a16:creationId xmlns:a16="http://schemas.microsoft.com/office/drawing/2014/main" id="{1978E48C-1CB1-7488-95D9-9E38C6AFA27B}"/>
              </a:ext>
            </a:extLst>
          </p:cNvPr>
          <p:cNvSpPr txBox="1"/>
          <p:nvPr/>
        </p:nvSpPr>
        <p:spPr>
          <a:xfrm>
            <a:off x="4879654" y="3649224"/>
            <a:ext cx="2997638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162; Q n=89, P n=73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66; Q n=78, P n=88)</a:t>
            </a:r>
          </a:p>
        </p:txBody>
      </p:sp>
      <p:cxnSp>
        <p:nvCxnSpPr>
          <p:cNvPr id="1529" name="Straight Connector 1528">
            <a:extLst>
              <a:ext uri="{FF2B5EF4-FFF2-40B4-BE49-F238E27FC236}">
                <a16:creationId xmlns:a16="http://schemas.microsoft.com/office/drawing/2014/main" id="{C68F45CA-989B-451D-1F01-BD6C37A42A7A}"/>
              </a:ext>
            </a:extLst>
          </p:cNvPr>
          <p:cNvCxnSpPr>
            <a:cxnSpLocks/>
          </p:cNvCxnSpPr>
          <p:nvPr/>
        </p:nvCxnSpPr>
        <p:spPr>
          <a:xfrm>
            <a:off x="4974346" y="3840158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0" name="Straight Connector 1529">
            <a:extLst>
              <a:ext uri="{FF2B5EF4-FFF2-40B4-BE49-F238E27FC236}">
                <a16:creationId xmlns:a16="http://schemas.microsoft.com/office/drawing/2014/main" id="{DB2360C8-FE9E-DE58-13A7-F73506C2E978}"/>
              </a:ext>
            </a:extLst>
          </p:cNvPr>
          <p:cNvCxnSpPr>
            <a:cxnSpLocks/>
          </p:cNvCxnSpPr>
          <p:nvPr/>
        </p:nvCxnSpPr>
        <p:spPr>
          <a:xfrm>
            <a:off x="6412499" y="3845496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1" name="Rectangle 1530">
            <a:extLst>
              <a:ext uri="{FF2B5EF4-FFF2-40B4-BE49-F238E27FC236}">
                <a16:creationId xmlns:a16="http://schemas.microsoft.com/office/drawing/2014/main" id="{0F367DDF-3743-78A4-FF3E-49BF3C16579C}"/>
              </a:ext>
            </a:extLst>
          </p:cNvPr>
          <p:cNvSpPr/>
          <p:nvPr/>
        </p:nvSpPr>
        <p:spPr>
          <a:xfrm>
            <a:off x="7261820" y="4410104"/>
            <a:ext cx="545100" cy="4701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2" name="Rectangle 1531">
            <a:extLst>
              <a:ext uri="{FF2B5EF4-FFF2-40B4-BE49-F238E27FC236}">
                <a16:creationId xmlns:a16="http://schemas.microsoft.com/office/drawing/2014/main" id="{5E2E37FF-E34A-F2F9-1588-4F7D7BA40618}"/>
              </a:ext>
            </a:extLst>
          </p:cNvPr>
          <p:cNvSpPr/>
          <p:nvPr/>
        </p:nvSpPr>
        <p:spPr>
          <a:xfrm>
            <a:off x="5677109" y="5938051"/>
            <a:ext cx="1374183" cy="24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35" name="TextBox 1534">
            <a:extLst>
              <a:ext uri="{FF2B5EF4-FFF2-40B4-BE49-F238E27FC236}">
                <a16:creationId xmlns:a16="http://schemas.microsoft.com/office/drawing/2014/main" id="{98A29BEF-52A1-9D16-7089-3F6F5E9D0F42}"/>
              </a:ext>
            </a:extLst>
          </p:cNvPr>
          <p:cNvSpPr txBox="1"/>
          <p:nvPr/>
        </p:nvSpPr>
        <p:spPr>
          <a:xfrm>
            <a:off x="5760614" y="4255418"/>
            <a:ext cx="151944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RD Cutoff: 0</a:t>
            </a:r>
          </a:p>
        </p:txBody>
      </p:sp>
      <p:sp>
        <p:nvSpPr>
          <p:cNvPr id="1537" name="TextBox 1536">
            <a:extLst>
              <a:ext uri="{FF2B5EF4-FFF2-40B4-BE49-F238E27FC236}">
                <a16:creationId xmlns:a16="http://schemas.microsoft.com/office/drawing/2014/main" id="{862D36FA-AAD0-AAAA-5DBB-D709B7EA8816}"/>
              </a:ext>
            </a:extLst>
          </p:cNvPr>
          <p:cNvSpPr txBox="1"/>
          <p:nvPr/>
        </p:nvSpPr>
        <p:spPr>
          <a:xfrm>
            <a:off x="6392902" y="5400117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40.4 months</a:t>
            </a:r>
          </a:p>
        </p:txBody>
      </p:sp>
      <p:sp>
        <p:nvSpPr>
          <p:cNvPr id="1538" name="TextBox 1537">
            <a:extLst>
              <a:ext uri="{FF2B5EF4-FFF2-40B4-BE49-F238E27FC236}">
                <a16:creationId xmlns:a16="http://schemas.microsoft.com/office/drawing/2014/main" id="{317824F9-FC8E-DE96-F644-CB8F62FF4AF3}"/>
              </a:ext>
            </a:extLst>
          </p:cNvPr>
          <p:cNvSpPr txBox="1"/>
          <p:nvPr/>
        </p:nvSpPr>
        <p:spPr>
          <a:xfrm>
            <a:off x="4911094" y="5502871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626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419-0.935</a:t>
            </a:r>
          </a:p>
        </p:txBody>
      </p:sp>
      <p:sp>
        <p:nvSpPr>
          <p:cNvPr id="1539" name="TextBox 1538">
            <a:extLst>
              <a:ext uri="{FF2B5EF4-FFF2-40B4-BE49-F238E27FC236}">
                <a16:creationId xmlns:a16="http://schemas.microsoft.com/office/drawing/2014/main" id="{902BB8A3-AB9B-7F9A-5C5D-3699A61D121D}"/>
              </a:ext>
            </a:extLst>
          </p:cNvPr>
          <p:cNvSpPr txBox="1"/>
          <p:nvPr/>
        </p:nvSpPr>
        <p:spPr>
          <a:xfrm>
            <a:off x="7050727" y="4526315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1540" name="TextBox 1539">
            <a:extLst>
              <a:ext uri="{FF2B5EF4-FFF2-40B4-BE49-F238E27FC236}">
                <a16:creationId xmlns:a16="http://schemas.microsoft.com/office/drawing/2014/main" id="{8F0F33AE-6FDE-8842-5972-CF727AE966A4}"/>
              </a:ext>
            </a:extLst>
          </p:cNvPr>
          <p:cNvSpPr txBox="1"/>
          <p:nvPr/>
        </p:nvSpPr>
        <p:spPr>
          <a:xfrm>
            <a:off x="4939999" y="5914976"/>
            <a:ext cx="3027151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83; Q n=48, P n=35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245; Q n=119, P n=126)</a:t>
            </a:r>
          </a:p>
        </p:txBody>
      </p:sp>
      <p:sp>
        <p:nvSpPr>
          <p:cNvPr id="1541" name="TextBox 1540">
            <a:extLst>
              <a:ext uri="{FF2B5EF4-FFF2-40B4-BE49-F238E27FC236}">
                <a16:creationId xmlns:a16="http://schemas.microsoft.com/office/drawing/2014/main" id="{A9397684-C0ED-B1CA-EBF1-682F72536A2B}"/>
              </a:ext>
            </a:extLst>
          </p:cNvPr>
          <p:cNvSpPr txBox="1"/>
          <p:nvPr/>
        </p:nvSpPr>
        <p:spPr>
          <a:xfrm>
            <a:off x="7057239" y="5162135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245)</a:t>
            </a:r>
          </a:p>
        </p:txBody>
      </p:sp>
      <p:sp>
        <p:nvSpPr>
          <p:cNvPr id="1542" name="TextBox 1541">
            <a:extLst>
              <a:ext uri="{FF2B5EF4-FFF2-40B4-BE49-F238E27FC236}">
                <a16:creationId xmlns:a16="http://schemas.microsoft.com/office/drawing/2014/main" id="{687AFF67-0DBD-8F28-13EB-CDC9BF25EC33}"/>
              </a:ext>
            </a:extLst>
          </p:cNvPr>
          <p:cNvSpPr txBox="1"/>
          <p:nvPr/>
        </p:nvSpPr>
        <p:spPr>
          <a:xfrm>
            <a:off x="7148394" y="4858797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83)</a:t>
            </a:r>
          </a:p>
        </p:txBody>
      </p:sp>
      <p:sp>
        <p:nvSpPr>
          <p:cNvPr id="1543" name="TextBox 1542">
            <a:extLst>
              <a:ext uri="{FF2B5EF4-FFF2-40B4-BE49-F238E27FC236}">
                <a16:creationId xmlns:a16="http://schemas.microsoft.com/office/drawing/2014/main" id="{11727CBC-B0E5-6B9C-0B2E-8C66D6FD7356}"/>
              </a:ext>
            </a:extLst>
          </p:cNvPr>
          <p:cNvSpPr txBox="1"/>
          <p:nvPr/>
        </p:nvSpPr>
        <p:spPr>
          <a:xfrm>
            <a:off x="4504281" y="4384618"/>
            <a:ext cx="347178" cy="14359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536" name="TextBox 1535">
            <a:extLst>
              <a:ext uri="{FF2B5EF4-FFF2-40B4-BE49-F238E27FC236}">
                <a16:creationId xmlns:a16="http://schemas.microsoft.com/office/drawing/2014/main" id="{2836EAEF-AC7A-730A-133B-EC81B1EE4D58}"/>
              </a:ext>
            </a:extLst>
          </p:cNvPr>
          <p:cNvSpPr txBox="1"/>
          <p:nvPr/>
        </p:nvSpPr>
        <p:spPr>
          <a:xfrm rot="16200000">
            <a:off x="4066200" y="5008288"/>
            <a:ext cx="1146126" cy="194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cxnSp>
        <p:nvCxnSpPr>
          <p:cNvPr id="1547" name="Straight Connector 1546">
            <a:extLst>
              <a:ext uri="{FF2B5EF4-FFF2-40B4-BE49-F238E27FC236}">
                <a16:creationId xmlns:a16="http://schemas.microsoft.com/office/drawing/2014/main" id="{8D6FC1DD-91CB-6D0B-8487-B1581B567BAE}"/>
              </a:ext>
            </a:extLst>
          </p:cNvPr>
          <p:cNvCxnSpPr>
            <a:cxnSpLocks/>
          </p:cNvCxnSpPr>
          <p:nvPr/>
        </p:nvCxnSpPr>
        <p:spPr>
          <a:xfrm>
            <a:off x="5021873" y="6103558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8" name="Straight Connector 1547">
            <a:extLst>
              <a:ext uri="{FF2B5EF4-FFF2-40B4-BE49-F238E27FC236}">
                <a16:creationId xmlns:a16="http://schemas.microsoft.com/office/drawing/2014/main" id="{67732EFB-7402-89BD-F318-0CEF1C3163C7}"/>
              </a:ext>
            </a:extLst>
          </p:cNvPr>
          <p:cNvCxnSpPr>
            <a:cxnSpLocks/>
          </p:cNvCxnSpPr>
          <p:nvPr/>
        </p:nvCxnSpPr>
        <p:spPr>
          <a:xfrm>
            <a:off x="6417780" y="6104221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9" name="TextBox 1548">
            <a:extLst>
              <a:ext uri="{FF2B5EF4-FFF2-40B4-BE49-F238E27FC236}">
                <a16:creationId xmlns:a16="http://schemas.microsoft.com/office/drawing/2014/main" id="{657C4688-3F28-934A-1EF6-84304B6760D7}"/>
              </a:ext>
            </a:extLst>
          </p:cNvPr>
          <p:cNvSpPr txBox="1"/>
          <p:nvPr/>
        </p:nvSpPr>
        <p:spPr>
          <a:xfrm>
            <a:off x="4549376" y="3834032"/>
            <a:ext cx="396913" cy="352532"/>
          </a:xfrm>
          <a:prstGeom prst="rect">
            <a:avLst/>
          </a:prstGeom>
          <a:solidFill>
            <a:schemeClr val="bg1"/>
          </a:solidFill>
        </p:spPr>
        <p:txBody>
          <a:bodyPr wrap="square" r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MRD+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A75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63" name="TextBox 1562">
            <a:extLst>
              <a:ext uri="{FF2B5EF4-FFF2-40B4-BE49-F238E27FC236}">
                <a16:creationId xmlns:a16="http://schemas.microsoft.com/office/drawing/2014/main" id="{386EFA94-481B-AA17-A25E-4FD587943D09}"/>
              </a:ext>
            </a:extLst>
          </p:cNvPr>
          <p:cNvSpPr txBox="1"/>
          <p:nvPr/>
        </p:nvSpPr>
        <p:spPr>
          <a:xfrm>
            <a:off x="1547932" y="1084477"/>
            <a:ext cx="2035429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c After Induction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1 or 2 cycles)</a:t>
            </a:r>
          </a:p>
        </p:txBody>
      </p:sp>
      <p:sp>
        <p:nvSpPr>
          <p:cNvPr id="1564" name="TextBox 1563">
            <a:extLst>
              <a:ext uri="{FF2B5EF4-FFF2-40B4-BE49-F238E27FC236}">
                <a16:creationId xmlns:a16="http://schemas.microsoft.com/office/drawing/2014/main" id="{F98DD7E7-A8C0-1F6D-5D12-4003D32B0106}"/>
              </a:ext>
            </a:extLst>
          </p:cNvPr>
          <p:cNvSpPr txBox="1"/>
          <p:nvPr/>
        </p:nvSpPr>
        <p:spPr>
          <a:xfrm>
            <a:off x="4515753" y="1084477"/>
            <a:ext cx="373850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ter 2 Cycles of CTx</a:t>
            </a:r>
            <a:r>
              <a:rPr kumimoji="0" lang="en-US" sz="1500" b="1" i="0" u="none" strike="noStrike" kern="1200" cap="none" spc="0" normalizeH="0" baseline="3000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CRc after induction × 2 or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Rc after induction #1 + consol. #1)</a:t>
            </a:r>
          </a:p>
        </p:txBody>
      </p:sp>
      <p:sp>
        <p:nvSpPr>
          <p:cNvPr id="1565" name="TextBox 1564">
            <a:extLst>
              <a:ext uri="{FF2B5EF4-FFF2-40B4-BE49-F238E27FC236}">
                <a16:creationId xmlns:a16="http://schemas.microsoft.com/office/drawing/2014/main" id="{FF74A57A-C035-F852-7517-DF2711CCD54F}"/>
              </a:ext>
            </a:extLst>
          </p:cNvPr>
          <p:cNvSpPr txBox="1"/>
          <p:nvPr/>
        </p:nvSpPr>
        <p:spPr>
          <a:xfrm>
            <a:off x="8668213" y="1084477"/>
            <a:ext cx="3062057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sng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ter Last Consolidation Cycle</a:t>
            </a:r>
            <a:r>
              <a:rPr kumimoji="0" lang="en-US" sz="1500" b="1" i="0" u="none" strike="noStrike" kern="1200" cap="none" spc="0" normalizeH="0" baseline="3000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7236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up to 4 cycles)</a:t>
            </a:r>
          </a:p>
        </p:txBody>
      </p:sp>
      <p:graphicFrame>
        <p:nvGraphicFramePr>
          <p:cNvPr id="2155" name="Table 2154">
            <a:extLst>
              <a:ext uri="{FF2B5EF4-FFF2-40B4-BE49-F238E27FC236}">
                <a16:creationId xmlns:a16="http://schemas.microsoft.com/office/drawing/2014/main" id="{F3517650-5924-0CDA-4C2F-90969A33CD8F}"/>
              </a:ext>
            </a:extLst>
          </p:cNvPr>
          <p:cNvGraphicFramePr>
            <a:graphicFrameLocks noGrp="1"/>
          </p:cNvGraphicFramePr>
          <p:nvPr/>
        </p:nvGraphicFramePr>
        <p:xfrm>
          <a:off x="4974346" y="3951453"/>
          <a:ext cx="2845647" cy="18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07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94788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  <a:tr h="94788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55509"/>
                  </a:ext>
                </a:extLst>
              </a:tr>
            </a:tbl>
          </a:graphicData>
        </a:graphic>
      </p:graphicFrame>
      <p:graphicFrame>
        <p:nvGraphicFramePr>
          <p:cNvPr id="2158" name="Table 2157">
            <a:extLst>
              <a:ext uri="{FF2B5EF4-FFF2-40B4-BE49-F238E27FC236}">
                <a16:creationId xmlns:a16="http://schemas.microsoft.com/office/drawing/2014/main" id="{B28229D0-F3BC-B6B0-18A0-B13326F510B3}"/>
              </a:ext>
            </a:extLst>
          </p:cNvPr>
          <p:cNvGraphicFramePr>
            <a:graphicFrameLocks noGrp="1"/>
          </p:cNvGraphicFramePr>
          <p:nvPr/>
        </p:nvGraphicFramePr>
        <p:xfrm>
          <a:off x="4947888" y="5842139"/>
          <a:ext cx="2845647" cy="106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07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106553"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</a:tbl>
          </a:graphicData>
        </a:graphic>
      </p:graphicFrame>
      <p:graphicFrame>
        <p:nvGraphicFramePr>
          <p:cNvPr id="2159" name="Table 2158">
            <a:extLst>
              <a:ext uri="{FF2B5EF4-FFF2-40B4-BE49-F238E27FC236}">
                <a16:creationId xmlns:a16="http://schemas.microsoft.com/office/drawing/2014/main" id="{936F86B9-0B4C-F554-6023-B34A51850FF9}"/>
              </a:ext>
            </a:extLst>
          </p:cNvPr>
          <p:cNvGraphicFramePr>
            <a:graphicFrameLocks noGrp="1"/>
          </p:cNvGraphicFramePr>
          <p:nvPr/>
        </p:nvGraphicFramePr>
        <p:xfrm>
          <a:off x="4947888" y="6226042"/>
          <a:ext cx="2845647" cy="1868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507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507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93411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  <a:tr h="93411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355509"/>
                  </a:ext>
                </a:extLst>
              </a:tr>
            </a:tbl>
          </a:graphicData>
        </a:graphic>
      </p:graphicFrame>
      <p:sp>
        <p:nvSpPr>
          <p:cNvPr id="2160" name="TextBox 2159">
            <a:extLst>
              <a:ext uri="{FF2B5EF4-FFF2-40B4-BE49-F238E27FC236}">
                <a16:creationId xmlns:a16="http://schemas.microsoft.com/office/drawing/2014/main" id="{7572BEA4-EEB6-7A2D-2FFD-00822FC03EDE}"/>
              </a:ext>
            </a:extLst>
          </p:cNvPr>
          <p:cNvSpPr txBox="1"/>
          <p:nvPr/>
        </p:nvSpPr>
        <p:spPr>
          <a:xfrm>
            <a:off x="4549376" y="6108652"/>
            <a:ext cx="396913" cy="352532"/>
          </a:xfrm>
          <a:prstGeom prst="rect">
            <a:avLst/>
          </a:prstGeom>
          <a:solidFill>
            <a:schemeClr val="bg1"/>
          </a:solidFill>
        </p:spPr>
        <p:txBody>
          <a:bodyPr wrap="square" r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MRD+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A75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162" name="Graphic 2161">
            <a:extLst>
              <a:ext uri="{FF2B5EF4-FFF2-40B4-BE49-F238E27FC236}">
                <a16:creationId xmlns:a16="http://schemas.microsoft.com/office/drawing/2014/main" id="{EAF11DFF-6C1B-8C3F-B120-7F327C2085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863869" y="4370917"/>
            <a:ext cx="2980330" cy="1480627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2808F9E-470C-386D-96AD-FEDD6439D14F}"/>
              </a:ext>
            </a:extLst>
          </p:cNvPr>
          <p:cNvSpPr/>
          <p:nvPr/>
        </p:nvSpPr>
        <p:spPr>
          <a:xfrm>
            <a:off x="11112313" y="4391263"/>
            <a:ext cx="587619" cy="4982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11ECE7-7601-AC39-96FA-41A0F51A2C6E}"/>
              </a:ext>
            </a:extLst>
          </p:cNvPr>
          <p:cNvSpPr txBox="1"/>
          <p:nvPr/>
        </p:nvSpPr>
        <p:spPr>
          <a:xfrm>
            <a:off x="10261441" y="5355275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26.2 month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D0395CA-1839-E5AD-EAB8-6CEF64DCF220}"/>
              </a:ext>
            </a:extLst>
          </p:cNvPr>
          <p:cNvSpPr txBox="1"/>
          <p:nvPr/>
        </p:nvSpPr>
        <p:spPr>
          <a:xfrm>
            <a:off x="8779633" y="5498669"/>
            <a:ext cx="1378118" cy="3488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470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334-0.66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E318099-98AA-6891-E783-01DBD401134E}"/>
              </a:ext>
            </a:extLst>
          </p:cNvPr>
          <p:cNvSpPr txBox="1"/>
          <p:nvPr/>
        </p:nvSpPr>
        <p:spPr>
          <a:xfrm>
            <a:off x="10919267" y="4481474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C34A80-127E-B714-6AB0-A834C2E77C79}"/>
              </a:ext>
            </a:extLst>
          </p:cNvPr>
          <p:cNvSpPr txBox="1"/>
          <p:nvPr/>
        </p:nvSpPr>
        <p:spPr>
          <a:xfrm>
            <a:off x="11076594" y="5210977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183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6EAF3CE-1B38-C446-25BC-C56EC42382BA}"/>
              </a:ext>
            </a:extLst>
          </p:cNvPr>
          <p:cNvSpPr txBox="1"/>
          <p:nvPr/>
        </p:nvSpPr>
        <p:spPr>
          <a:xfrm>
            <a:off x="11112312" y="4724236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54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062BC9E-4FC1-0C95-F3B3-B9C01195EEE4}"/>
              </a:ext>
            </a:extLst>
          </p:cNvPr>
          <p:cNvSpPr/>
          <p:nvPr/>
        </p:nvSpPr>
        <p:spPr>
          <a:xfrm>
            <a:off x="9513680" y="5903043"/>
            <a:ext cx="1503252" cy="245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F1965E-28FB-880A-3227-1333A8A2D84B}"/>
              </a:ext>
            </a:extLst>
          </p:cNvPr>
          <p:cNvSpPr/>
          <p:nvPr/>
        </p:nvSpPr>
        <p:spPr>
          <a:xfrm>
            <a:off x="8377047" y="6016027"/>
            <a:ext cx="416614" cy="476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D722BD0-613F-D8D3-63BE-1B52A251A5F1}"/>
              </a:ext>
            </a:extLst>
          </p:cNvPr>
          <p:cNvSpPr txBox="1"/>
          <p:nvPr/>
        </p:nvSpPr>
        <p:spPr>
          <a:xfrm>
            <a:off x="8740946" y="5888787"/>
            <a:ext cx="3086238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154; Q n=88, P n=66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83; Q n=84, P n=99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275FF6F-4307-ACBD-242A-6E884DC6305F}"/>
              </a:ext>
            </a:extLst>
          </p:cNvPr>
          <p:cNvCxnSpPr>
            <a:cxnSpLocks/>
          </p:cNvCxnSpPr>
          <p:nvPr/>
        </p:nvCxnSpPr>
        <p:spPr>
          <a:xfrm>
            <a:off x="8879969" y="6090068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D4AA7DA-20B9-B7DE-87E5-BA440B6AEF32}"/>
              </a:ext>
            </a:extLst>
          </p:cNvPr>
          <p:cNvCxnSpPr>
            <a:cxnSpLocks/>
          </p:cNvCxnSpPr>
          <p:nvPr/>
        </p:nvCxnSpPr>
        <p:spPr>
          <a:xfrm>
            <a:off x="10288578" y="6084382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0BC394DF-B3CB-027C-EA3E-22DE932A484E}"/>
              </a:ext>
            </a:extLst>
          </p:cNvPr>
          <p:cNvSpPr txBox="1"/>
          <p:nvPr/>
        </p:nvSpPr>
        <p:spPr>
          <a:xfrm>
            <a:off x="9565870" y="4206327"/>
            <a:ext cx="1519449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33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RD Cutoff: 0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8B406BE-5A4F-9702-7D66-026991E1D0F3}"/>
              </a:ext>
            </a:extLst>
          </p:cNvPr>
          <p:cNvSpPr txBox="1"/>
          <p:nvPr/>
        </p:nvSpPr>
        <p:spPr>
          <a:xfrm>
            <a:off x="8365498" y="4352952"/>
            <a:ext cx="347178" cy="14359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E9F4B3-015D-B0B8-7A0D-D0E188D1F15A}"/>
              </a:ext>
            </a:extLst>
          </p:cNvPr>
          <p:cNvSpPr txBox="1"/>
          <p:nvPr/>
        </p:nvSpPr>
        <p:spPr>
          <a:xfrm rot="16200000">
            <a:off x="7930063" y="4976622"/>
            <a:ext cx="1146126" cy="194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21F277-D613-B1C8-364F-8FCFC5665D16}"/>
              </a:ext>
            </a:extLst>
          </p:cNvPr>
          <p:cNvSpPr/>
          <p:nvPr/>
        </p:nvSpPr>
        <p:spPr>
          <a:xfrm>
            <a:off x="11085319" y="2135624"/>
            <a:ext cx="614613" cy="5637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F83391-3003-C371-9CCB-F6DE27764740}"/>
              </a:ext>
            </a:extLst>
          </p:cNvPr>
          <p:cNvSpPr/>
          <p:nvPr/>
        </p:nvSpPr>
        <p:spPr>
          <a:xfrm>
            <a:off x="9508701" y="3676317"/>
            <a:ext cx="1372294" cy="2342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2EDFC02-B6ED-FB63-A3E2-157F1DEDAC7F}"/>
              </a:ext>
            </a:extLst>
          </p:cNvPr>
          <p:cNvSpPr/>
          <p:nvPr/>
        </p:nvSpPr>
        <p:spPr>
          <a:xfrm>
            <a:off x="8413356" y="3842147"/>
            <a:ext cx="366277" cy="3641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18EC142-22F0-633D-90DE-802487B6A208}"/>
              </a:ext>
            </a:extLst>
          </p:cNvPr>
          <p:cNvSpPr txBox="1"/>
          <p:nvPr/>
        </p:nvSpPr>
        <p:spPr>
          <a:xfrm>
            <a:off x="10873028" y="2243133"/>
            <a:ext cx="740267" cy="10265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 CENSORED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40BD6FE-5254-653F-C990-167C40B9CD31}"/>
              </a:ext>
            </a:extLst>
          </p:cNvPr>
          <p:cNvSpPr txBox="1"/>
          <p:nvPr/>
        </p:nvSpPr>
        <p:spPr>
          <a:xfrm>
            <a:off x="10984452" y="3012613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 (n=119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9F9863B-61FC-9EF1-CA53-C63D3B6793BA}"/>
              </a:ext>
            </a:extLst>
          </p:cNvPr>
          <p:cNvSpPr txBox="1"/>
          <p:nvPr/>
        </p:nvSpPr>
        <p:spPr>
          <a:xfrm>
            <a:off x="10984452" y="2528955"/>
            <a:ext cx="877843" cy="1281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833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218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7CCCCA0-7FED-313B-E860-602DCF685754}"/>
              </a:ext>
            </a:extLst>
          </p:cNvPr>
          <p:cNvSpPr txBox="1"/>
          <p:nvPr/>
        </p:nvSpPr>
        <p:spPr>
          <a:xfrm>
            <a:off x="8698542" y="3631795"/>
            <a:ext cx="3083904" cy="29751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ime from randomization (months)</a:t>
            </a:r>
          </a:p>
          <a:p>
            <a:pPr marL="0" marR="0" lvl="0" indent="0" algn="ctr" defTabSz="457200" rtl="0" eaLnBrk="1" fontAlgn="auto" latinLnBrk="0" hangingPunct="1">
              <a:lnSpc>
                <a:spcPts val="83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 MRD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N=218; Q n=126, P n=92)         </a:t>
            </a: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N=119; Q n=46, P n=73)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8FFE946-F8EF-82B2-D850-8DE62920B1A5}"/>
              </a:ext>
            </a:extLst>
          </p:cNvPr>
          <p:cNvCxnSpPr>
            <a:cxnSpLocks/>
          </p:cNvCxnSpPr>
          <p:nvPr/>
        </p:nvCxnSpPr>
        <p:spPr>
          <a:xfrm>
            <a:off x="8803195" y="3827709"/>
            <a:ext cx="125608" cy="0"/>
          </a:xfrm>
          <a:prstGeom prst="line">
            <a:avLst/>
          </a:prstGeom>
          <a:ln w="38100">
            <a:solidFill>
              <a:srgbClr val="023F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47ADFBDF-1AE6-327B-4680-0A286A23408C}"/>
              </a:ext>
            </a:extLst>
          </p:cNvPr>
          <p:cNvCxnSpPr>
            <a:cxnSpLocks/>
          </p:cNvCxnSpPr>
          <p:nvPr/>
        </p:nvCxnSpPr>
        <p:spPr>
          <a:xfrm>
            <a:off x="10295349" y="3823088"/>
            <a:ext cx="117945" cy="0"/>
          </a:xfrm>
          <a:prstGeom prst="line">
            <a:avLst/>
          </a:prstGeom>
          <a:ln w="38100">
            <a:solidFill>
              <a:srgbClr val="00A7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74A4D433-285B-32FC-E79E-CD4497D247CF}"/>
              </a:ext>
            </a:extLst>
          </p:cNvPr>
          <p:cNvSpPr txBox="1"/>
          <p:nvPr/>
        </p:nvSpPr>
        <p:spPr>
          <a:xfrm>
            <a:off x="10250078" y="3125651"/>
            <a:ext cx="1338216" cy="4770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OS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: NR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+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: 14.8 month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EF8535D-E615-D290-430D-374343E5F06B}"/>
              </a:ext>
            </a:extLst>
          </p:cNvPr>
          <p:cNvSpPr txBox="1"/>
          <p:nvPr/>
        </p:nvSpPr>
        <p:spPr>
          <a:xfrm>
            <a:off x="8768270" y="3239412"/>
            <a:ext cx="1352572" cy="34881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R=0.458</a:t>
            </a:r>
          </a:p>
          <a:p>
            <a:pPr marL="0" marR="0" lvl="0" indent="0" algn="ctr" defTabSz="457200" rtl="0" eaLnBrk="1" fontAlgn="auto" latinLnBrk="0" hangingPunct="1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5% CI, 0.332-0.633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60A31BF-392A-1EC5-30AB-88C21A3D9981}"/>
              </a:ext>
            </a:extLst>
          </p:cNvPr>
          <p:cNvSpPr txBox="1"/>
          <p:nvPr/>
        </p:nvSpPr>
        <p:spPr>
          <a:xfrm>
            <a:off x="8352269" y="2110609"/>
            <a:ext cx="347178" cy="143590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417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3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C22BAB6-5CC1-C119-624D-AA6C2192AB29}"/>
              </a:ext>
            </a:extLst>
          </p:cNvPr>
          <p:cNvSpPr txBox="1"/>
          <p:nvPr/>
        </p:nvSpPr>
        <p:spPr>
          <a:xfrm rot="16200000">
            <a:off x="7914188" y="2722372"/>
            <a:ext cx="1146126" cy="19499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S probability (%)</a:t>
            </a:r>
          </a:p>
        </p:txBody>
      </p:sp>
      <p:graphicFrame>
        <p:nvGraphicFramePr>
          <p:cNvPr id="36" name="Table 35">
            <a:extLst>
              <a:ext uri="{FF2B5EF4-FFF2-40B4-BE49-F238E27FC236}">
                <a16:creationId xmlns:a16="http://schemas.microsoft.com/office/drawing/2014/main" id="{3808609A-A108-2EEE-20F2-7E1CEF49A665}"/>
              </a:ext>
            </a:extLst>
          </p:cNvPr>
          <p:cNvGraphicFramePr>
            <a:graphicFrameLocks noGrp="1"/>
          </p:cNvGraphicFramePr>
          <p:nvPr/>
        </p:nvGraphicFramePr>
        <p:xfrm>
          <a:off x="8795748" y="3569764"/>
          <a:ext cx="2823744" cy="106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464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106553"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</a:tbl>
          </a:graphicData>
        </a:graphic>
      </p:graphicFrame>
      <p:graphicFrame>
        <p:nvGraphicFramePr>
          <p:cNvPr id="37" name="Table 36">
            <a:extLst>
              <a:ext uri="{FF2B5EF4-FFF2-40B4-BE49-F238E27FC236}">
                <a16:creationId xmlns:a16="http://schemas.microsoft.com/office/drawing/2014/main" id="{6AB64C97-6CF7-3F78-A5CE-30B473FF5217}"/>
              </a:ext>
            </a:extLst>
          </p:cNvPr>
          <p:cNvGraphicFramePr>
            <a:graphicFrameLocks noGrp="1"/>
          </p:cNvGraphicFramePr>
          <p:nvPr/>
        </p:nvGraphicFramePr>
        <p:xfrm>
          <a:off x="8795748" y="3955079"/>
          <a:ext cx="2823744" cy="189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464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4464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94788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  <a:tr h="94788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355509"/>
                  </a:ext>
                </a:extLst>
              </a:tr>
            </a:tbl>
          </a:graphicData>
        </a:graphic>
      </p:graphicFrame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32D48C24-97B4-2EBA-3262-6DC07C340B5D}"/>
              </a:ext>
            </a:extLst>
          </p:cNvPr>
          <p:cNvGraphicFramePr>
            <a:graphicFrameLocks noGrp="1"/>
          </p:cNvGraphicFramePr>
          <p:nvPr/>
        </p:nvGraphicFramePr>
        <p:xfrm>
          <a:off x="8808554" y="5818326"/>
          <a:ext cx="2855916" cy="1065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996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106553"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b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665BD7D2-85CB-76DD-ED18-03EB9B3BDD70}"/>
              </a:ext>
            </a:extLst>
          </p:cNvPr>
          <p:cNvGraphicFramePr>
            <a:graphicFrameLocks noGrp="1"/>
          </p:cNvGraphicFramePr>
          <p:nvPr/>
        </p:nvGraphicFramePr>
        <p:xfrm>
          <a:off x="8808554" y="6231682"/>
          <a:ext cx="2855916" cy="1868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996">
                  <a:extLst>
                    <a:ext uri="{9D8B030D-6E8A-4147-A177-3AD203B41FA5}">
                      <a16:colId xmlns:a16="http://schemas.microsoft.com/office/drawing/2014/main" val="1724418553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61373443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3216199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0587797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22678309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54082048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78405284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3071713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23988939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06145229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11103356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52756117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648398557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140308145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37474311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2984651684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052415656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864251302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1751911401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446415331"/>
                    </a:ext>
                  </a:extLst>
                </a:gridCol>
                <a:gridCol w="135996">
                  <a:extLst>
                    <a:ext uri="{9D8B030D-6E8A-4147-A177-3AD203B41FA5}">
                      <a16:colId xmlns:a16="http://schemas.microsoft.com/office/drawing/2014/main" val="2785258742"/>
                    </a:ext>
                  </a:extLst>
                </a:gridCol>
              </a:tblGrid>
              <a:tr h="93411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4371A7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028268"/>
                  </a:ext>
                </a:extLst>
              </a:tr>
              <a:tr h="93411"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500" b="0" dirty="0">
                          <a:solidFill>
                            <a:srgbClr val="00A756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355509"/>
                  </a:ext>
                </a:extLst>
              </a:tr>
            </a:tbl>
          </a:graphicData>
        </a:graphic>
      </p:graphicFrame>
      <p:pic>
        <p:nvPicPr>
          <p:cNvPr id="41" name="Graphic 40">
            <a:extLst>
              <a:ext uri="{FF2B5EF4-FFF2-40B4-BE49-F238E27FC236}">
                <a16:creationId xmlns:a16="http://schemas.microsoft.com/office/drawing/2014/main" id="{171F0D78-DCF2-D158-6305-F57FC025DE6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714482" y="2107408"/>
            <a:ext cx="2965418" cy="1472483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CBF3A8B9-5EDC-285A-4127-E24E4EAC0DD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727821" y="4336547"/>
            <a:ext cx="2992523" cy="149115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914CB13-4202-2A2E-930D-CE1A96E86516}"/>
              </a:ext>
            </a:extLst>
          </p:cNvPr>
          <p:cNvSpPr txBox="1"/>
          <p:nvPr/>
        </p:nvSpPr>
        <p:spPr>
          <a:xfrm>
            <a:off x="8386897" y="6113970"/>
            <a:ext cx="396913" cy="352532"/>
          </a:xfrm>
          <a:prstGeom prst="rect">
            <a:avLst/>
          </a:prstGeom>
          <a:solidFill>
            <a:schemeClr val="bg1"/>
          </a:solidFill>
        </p:spPr>
        <p:txBody>
          <a:bodyPr wrap="square" r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MRD+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A75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F6225FD-59EC-09A2-3EEA-8832C3E1033B}"/>
              </a:ext>
            </a:extLst>
          </p:cNvPr>
          <p:cNvSpPr txBox="1"/>
          <p:nvPr/>
        </p:nvSpPr>
        <p:spPr>
          <a:xfrm>
            <a:off x="8371422" y="3839483"/>
            <a:ext cx="396913" cy="352532"/>
          </a:xfrm>
          <a:prstGeom prst="rect">
            <a:avLst/>
          </a:prstGeom>
          <a:solidFill>
            <a:schemeClr val="bg1"/>
          </a:solidFill>
        </p:spPr>
        <p:txBody>
          <a:bodyPr wrap="square" rIns="0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. at risk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</a:t>
            </a: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23F88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−</a:t>
            </a:r>
          </a:p>
          <a:p>
            <a:pPr marL="0" marR="0" lvl="0" indent="0" algn="r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3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srgbClr val="00A75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ymbol" panose="05050102010706020507" pitchFamily="18" charset="2"/>
              </a:rPr>
              <a:t>MRD+</a:t>
            </a:r>
            <a:endParaRPr kumimoji="0" lang="en-US" sz="500" b="0" i="0" u="none" strike="noStrike" kern="1200" cap="none" spc="0" normalizeH="0" baseline="0" noProof="0" dirty="0">
              <a:ln>
                <a:noFill/>
              </a:ln>
              <a:solidFill>
                <a:srgbClr val="00A75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1D60169A-84C3-08CB-70B8-3705DA8C4A7F}"/>
              </a:ext>
            </a:extLst>
          </p:cNvPr>
          <p:cNvSpPr/>
          <p:nvPr/>
        </p:nvSpPr>
        <p:spPr>
          <a:xfrm>
            <a:off x="648049" y="1084477"/>
            <a:ext cx="3776204" cy="53644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6252D363-419C-02D4-5083-E9DA2E783097}"/>
              </a:ext>
            </a:extLst>
          </p:cNvPr>
          <p:cNvSpPr/>
          <p:nvPr/>
        </p:nvSpPr>
        <p:spPr>
          <a:xfrm>
            <a:off x="4502464" y="1084477"/>
            <a:ext cx="3776204" cy="53644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63C3E85-1F09-01D9-AE73-2B4CEF27AE51}"/>
              </a:ext>
            </a:extLst>
          </p:cNvPr>
          <p:cNvSpPr/>
          <p:nvPr/>
        </p:nvSpPr>
        <p:spPr>
          <a:xfrm>
            <a:off x="8356716" y="1084477"/>
            <a:ext cx="3633440" cy="536446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68F892C-9BC1-4311-DEB5-7230CC9504D7}"/>
              </a:ext>
            </a:extLst>
          </p:cNvPr>
          <p:cNvSpPr txBox="1"/>
          <p:nvPr/>
        </p:nvSpPr>
        <p:spPr>
          <a:xfrm rot="16200000">
            <a:off x="-638139" y="2378013"/>
            <a:ext cx="1932783" cy="2331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5240" bIns="1524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 cutoff: 10</a:t>
            </a:r>
            <a:r>
              <a:rPr kumimoji="0" lang="en-US" sz="1667" b="1" i="0" u="none" strike="noStrike" kern="1200" cap="none" spc="0" normalizeH="0" baseline="3000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4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BEC3BEF-2BF6-3BA3-8555-CF51A206BD27}"/>
              </a:ext>
            </a:extLst>
          </p:cNvPr>
          <p:cNvSpPr txBox="1"/>
          <p:nvPr/>
        </p:nvSpPr>
        <p:spPr>
          <a:xfrm rot="16200000">
            <a:off x="-673396" y="5202785"/>
            <a:ext cx="1932783" cy="2331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15240" bIns="1524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67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RD cutoff: 0</a:t>
            </a:r>
            <a:endParaRPr kumimoji="0" lang="en-US" sz="1667" b="1" i="0" u="none" strike="noStrike" kern="1200" cap="none" spc="0" normalizeH="0" baseline="3000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Title 3">
            <a:extLst>
              <a:ext uri="{FF2B5EF4-FFF2-40B4-BE49-F238E27FC236}">
                <a16:creationId xmlns:a16="http://schemas.microsoft.com/office/drawing/2014/main" id="{177FFC6A-D1D3-D68A-CD5F-F9C56CDD1C36}"/>
              </a:ext>
            </a:extLst>
          </p:cNvPr>
          <p:cNvSpPr txBox="1">
            <a:spLocks/>
          </p:cNvSpPr>
          <p:nvPr/>
        </p:nvSpPr>
        <p:spPr>
          <a:xfrm>
            <a:off x="79674" y="77840"/>
            <a:ext cx="11910481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ANTU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-First Updates: FLT3-ITD MRD Predicts OS (Perl, #832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MRD cutoff 10-4 based on LLOQ (lower limit of quant), also zero/undetectable (as post-hoc)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647D3C9-7970-7CA4-DAD8-3120769D3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674" y="6514474"/>
            <a:ext cx="11430001" cy="296378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ost hoc analysis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667" b="0" i="0" u="none" strike="noStrike" kern="1200" cap="none" spc="0" normalizeH="0" baseline="4600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fined as 2 cycles of induction </a:t>
            </a:r>
            <a:r>
              <a:rPr kumimoji="0" lang="en-US" sz="667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x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or 1 cycle of induction </a:t>
            </a:r>
            <a:r>
              <a:rPr kumimoji="0" lang="en-US" sz="667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Tx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+ 1 cycle of consolidation </a:t>
            </a:r>
            <a:r>
              <a:rPr kumimoji="0" lang="en-US" sz="667" b="0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CTx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</a:t>
            </a:r>
            <a:r>
              <a:rPr kumimoji="0" lang="en-US" sz="667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</a:t>
            </a:r>
            <a:r>
              <a:rPr kumimoji="0" lang="en-US" sz="667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lude samples up to end of consolidation; if there was no MRD data for the last consolidation cycle, the earlier available MRD status was used, including from induction. </a:t>
            </a: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8984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itle 3">
            <a:extLst>
              <a:ext uri="{FF2B5EF4-FFF2-40B4-BE49-F238E27FC236}">
                <a16:creationId xmlns:a16="http://schemas.microsoft.com/office/drawing/2014/main" id="{177FFC6A-D1D3-D68A-CD5F-F9C56CDD1C36}"/>
              </a:ext>
            </a:extLst>
          </p:cNvPr>
          <p:cNvSpPr txBox="1">
            <a:spLocks/>
          </p:cNvSpPr>
          <p:nvPr/>
        </p:nvSpPr>
        <p:spPr>
          <a:xfrm>
            <a:off x="94035" y="132516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ANTU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-First Outcomes: </a:t>
            </a:r>
            <a:r>
              <a:rPr kumimoji="0" lang="en-US" sz="3600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IZ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Improves MRD- Rates</a:t>
            </a:r>
          </a:p>
        </p:txBody>
      </p:sp>
      <p:sp>
        <p:nvSpPr>
          <p:cNvPr id="40" name="Title 39">
            <a:extLst>
              <a:ext uri="{FF2B5EF4-FFF2-40B4-BE49-F238E27FC236}">
                <a16:creationId xmlns:a16="http://schemas.microsoft.com/office/drawing/2014/main" id="{B1C2EB0F-C739-2367-1E15-27040C85CC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2455" name="Picture 2454">
            <a:extLst>
              <a:ext uri="{FF2B5EF4-FFF2-40B4-BE49-F238E27FC236}">
                <a16:creationId xmlns:a16="http://schemas.microsoft.com/office/drawing/2014/main" id="{E42D7E1A-4C71-300F-5C8F-BA9C2DC4ABB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99457"/>
            <a:ext cx="12192000" cy="550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47481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94035" y="132516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ANTUM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-First: Conclusions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08A77DA8-C7A6-479C-651D-DC3C44B776AD}"/>
              </a:ext>
            </a:extLst>
          </p:cNvPr>
          <p:cNvSpPr txBox="1">
            <a:spLocks/>
          </p:cNvSpPr>
          <p:nvPr/>
        </p:nvSpPr>
        <p:spPr>
          <a:xfrm>
            <a:off x="524256" y="1841326"/>
            <a:ext cx="10725946" cy="42165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Proxima Nova Rg" panose="02000506030000020004" pitchFamily="50" charset="0"/>
              <a:buChar char="-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re is a clear prognostic utility of FLT3-ITD specific MRD measurements in management of patients with FLT3-ITD AML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limination of detectable FLT3-ITD MRD is associated with longer OS (in patients both w/wo QUIZ)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QUIZ is associated with deeper responses and more frequent MRD clearance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0018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07558"/>
            <a:ext cx="11712798" cy="5106772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85569" y="73249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QUIWI: A Double-Blinded, Randomized Phase 2 Study Comparing Standard Chemotherapy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Plus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Quizartinib</a:t>
            </a:r>
            <a:r>
              <a:rPr lang="en-US" sz="2800" dirty="0">
                <a:solidFill>
                  <a:prstClr val="white"/>
                </a:solidFill>
                <a:latin typeface="Arial Narrow" panose="020B0606020202030204" pitchFamily="34" charset="0"/>
              </a:rPr>
              <a:t> V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ersus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 Placebo Newly Diagnosed FLT3-ITD Wildtype AM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C7D583-11BC-AA82-ABE0-1D455F925B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27152" y="1216769"/>
            <a:ext cx="7772400" cy="1616915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D89AD7F-5898-67A3-6AAF-599FFA7DDB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8390" y="2942895"/>
            <a:ext cx="4867275" cy="37084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817153C-A450-4369-C15C-520FABA29AC4}"/>
              </a:ext>
            </a:extLst>
          </p:cNvPr>
          <p:cNvSpPr txBox="1"/>
          <p:nvPr/>
        </p:nvSpPr>
        <p:spPr>
          <a:xfrm>
            <a:off x="3875027" y="3804876"/>
            <a:ext cx="2125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EFS </a:t>
            </a:r>
          </a:p>
          <a:p>
            <a:pPr algn="ctr"/>
            <a:r>
              <a:rPr lang="en-US" dirty="0">
                <a:solidFill>
                  <a:srgbClr val="FF0000"/>
                </a:solidFill>
              </a:rPr>
              <a:t>(interim analysis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1BAEEE7-FADD-F913-DF5D-16940EDFA4A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-1" r="566"/>
          <a:stretch/>
        </p:blipFill>
        <p:spPr>
          <a:xfrm>
            <a:off x="6191840" y="2888920"/>
            <a:ext cx="5102693" cy="381635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BE8A1E-33B2-8074-E403-346C43B37B5B}"/>
              </a:ext>
            </a:extLst>
          </p:cNvPr>
          <p:cNvSpPr txBox="1"/>
          <p:nvPr/>
        </p:nvSpPr>
        <p:spPr>
          <a:xfrm>
            <a:off x="9626600" y="3281855"/>
            <a:ext cx="21251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OS </a:t>
            </a:r>
          </a:p>
          <a:p>
            <a:pPr algn="ctr"/>
            <a:r>
              <a:rPr lang="en-US" dirty="0">
                <a:solidFill>
                  <a:srgbClr val="FF0000"/>
                </a:solidFill>
              </a:rPr>
              <a:t>(interim analysi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15A580C-57B1-18B2-2622-D18D1AB9E570}"/>
              </a:ext>
            </a:extLst>
          </p:cNvPr>
          <p:cNvSpPr txBox="1"/>
          <p:nvPr/>
        </p:nvSpPr>
        <p:spPr>
          <a:xfrm>
            <a:off x="10265991" y="6309104"/>
            <a:ext cx="19260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dirty="0"/>
              <a:t>Montesinos P et al. </a:t>
            </a:r>
          </a:p>
          <a:p>
            <a:r>
              <a:rPr lang="en-US" sz="1200" dirty="0"/>
              <a:t>EHA 2023;Abstract S130.</a:t>
            </a:r>
          </a:p>
        </p:txBody>
      </p:sp>
    </p:spTree>
    <p:extLst>
      <p:ext uri="{BB962C8B-B14F-4D97-AF65-F5344CB8AC3E}">
        <p14:creationId xmlns:p14="http://schemas.microsoft.com/office/powerpoint/2010/main" val="3393914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E4723-F4D9-F4D3-726E-C1CC9E1285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 anchorCtr="0">
            <a:normAutofit fontScale="90000"/>
          </a:bodyPr>
          <a:lstStyle/>
          <a:p>
            <a:r>
              <a:rPr lang="en-US" dirty="0"/>
              <a:t> </a:t>
            </a:r>
          </a:p>
        </p:txBody>
      </p:sp>
      <p:sp>
        <p:nvSpPr>
          <p:cNvPr id="43" name="Content Placeholder 42">
            <a:extLst>
              <a:ext uri="{FF2B5EF4-FFF2-40B4-BE49-F238E27FC236}">
                <a16:creationId xmlns:a16="http://schemas.microsoft.com/office/drawing/2014/main" id="{3CD7A8DE-E226-0E44-91B9-4AEA2B2428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6953" y="1133444"/>
            <a:ext cx="11712798" cy="5106772"/>
          </a:xfrm>
        </p:spPr>
        <p:txBody>
          <a:bodyPr>
            <a:normAutofit/>
          </a:bodyPr>
          <a:lstStyle/>
          <a:p>
            <a:endParaRPr lang="en-US" sz="2400" dirty="0"/>
          </a:p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18A71C-6860-15AB-3CA4-49965CE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380955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67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Calibri" panose="020F0502020204030204" pitchFamily="34" charset="0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E3153-BE4C-6A99-D3F4-9132479BA2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0096D907-8743-B45D-0D95-19BC91842235}"/>
              </a:ext>
            </a:extLst>
          </p:cNvPr>
          <p:cNvSpPr txBox="1">
            <a:spLocks/>
          </p:cNvSpPr>
          <p:nvPr/>
        </p:nvSpPr>
        <p:spPr>
          <a:xfrm>
            <a:off x="179760" y="110038"/>
            <a:ext cx="12192000" cy="742974"/>
          </a:xfr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cap="none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QUIZ for patients with FLT3-”like” gene expression signatur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Mosquer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Orgueir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</a:rPr>
              <a:t> A, ASH #97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08A77DA8-C7A6-479C-651D-DC3C44B776AD}"/>
              </a:ext>
            </a:extLst>
          </p:cNvPr>
          <p:cNvSpPr txBox="1">
            <a:spLocks/>
          </p:cNvSpPr>
          <p:nvPr/>
        </p:nvSpPr>
        <p:spPr>
          <a:xfrm>
            <a:off x="256953" y="1272028"/>
            <a:ext cx="11161776" cy="47164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Proxima Nova Rg" panose="02000506030000020004" pitchFamily="50" charset="0"/>
              <a:buChar char="-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sng" strike="noStrike" kern="1200" cap="none" spc="0" normalizeH="0" baseline="0" noProof="0" dirty="0">
                <a:ln>
                  <a:noFill/>
                </a:ln>
                <a:solidFill>
                  <a:srgbClr val="0F385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Background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: A FLT3-like transcriptomic signature is present in 28-53% of FLT3-ITD neg patients¹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QUIWI Trial compared QUIZ vs PBO + standard chemo in FLT3-ITD wild-type AML (n=284)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2-yr OS was 63.5% (QUIZ) vs 47% (PBO)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232C3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49.7% of QUIWI cases had “FLT3-LIKE” expressio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47484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356AF619-7BF2-CA56-53BE-A8849D104D91}"/>
              </a:ext>
            </a:extLst>
          </p:cNvPr>
          <p:cNvSpPr txBox="1">
            <a:spLocks/>
          </p:cNvSpPr>
          <p:nvPr/>
        </p:nvSpPr>
        <p:spPr>
          <a:xfrm>
            <a:off x="1" y="6425487"/>
            <a:ext cx="12191999" cy="27833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6"/>
              </a:buClr>
              <a:buFont typeface="Wingdings" panose="05000000000000000000" pitchFamily="2" charset="2"/>
              <a:buChar char="§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C000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Proxima Nova Rg" panose="02000506030000020004" pitchFamily="50" charset="0"/>
              <a:buChar char="-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¹Mosquera et al, </a:t>
            </a:r>
            <a:r>
              <a:rPr kumimoji="0" lang="en-US" sz="1050" b="1" i="0" u="none" strike="noStrike" kern="1200" cap="none" spc="0" normalizeH="0" baseline="0" noProof="0" dirty="0" err="1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los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47484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One 2021</a:t>
            </a:r>
          </a:p>
        </p:txBody>
      </p:sp>
      <p:sp>
        <p:nvSpPr>
          <p:cNvPr id="8" name="Google Shape;120;p26">
            <a:extLst>
              <a:ext uri="{FF2B5EF4-FFF2-40B4-BE49-F238E27FC236}">
                <a16:creationId xmlns:a16="http://schemas.microsoft.com/office/drawing/2014/main" id="{C32EFDB8-2943-8A20-D942-E96765A412F5}"/>
              </a:ext>
            </a:extLst>
          </p:cNvPr>
          <p:cNvSpPr/>
          <p:nvPr/>
        </p:nvSpPr>
        <p:spPr>
          <a:xfrm>
            <a:off x="683925" y="3848777"/>
            <a:ext cx="3608050" cy="2527500"/>
          </a:xfrm>
          <a:prstGeom prst="rect">
            <a:avLst/>
          </a:prstGeom>
          <a:solidFill>
            <a:srgbClr val="3D85C6"/>
          </a:solidFill>
          <a:ln w="9525" cap="flat" cmpd="sng">
            <a:solidFill>
              <a:srgbClr val="3D85C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ifferential Expression: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 649 distinct genes were significantly differentially expressed in FLT3 mutants vs. WT samples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FLT3 Clustering: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 FLT3-ITD mutants consistently clustered together in multiple datasets. 28-53% of all FLT3-ITD negative patients were FLT3-like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ation Landscape: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 </a:t>
            </a:r>
            <a:r>
              <a:rPr kumimoji="0" lang="e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NPM1 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and </a:t>
            </a:r>
            <a:r>
              <a:rPr kumimoji="0" lang="es" sz="12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DNMT3A 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mutations were highly enriched in FLT3-like AMLs. 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Implications: Findings suggest that FLT3-like AMLs have unique gene expression profiles</a:t>
            </a:r>
            <a:r>
              <a:rPr kumimoji="0" lang="e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.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9" name="Google Shape;123;p26">
            <a:extLst>
              <a:ext uri="{FF2B5EF4-FFF2-40B4-BE49-F238E27FC236}">
                <a16:creationId xmlns:a16="http://schemas.microsoft.com/office/drawing/2014/main" id="{93F47230-9DCF-DC6C-6111-2DA05D83F1A9}"/>
              </a:ext>
            </a:extLst>
          </p:cNvPr>
          <p:cNvSpPr/>
          <p:nvPr/>
        </p:nvSpPr>
        <p:spPr>
          <a:xfrm>
            <a:off x="683925" y="3478877"/>
            <a:ext cx="3608050" cy="369900"/>
          </a:xfrm>
          <a:prstGeom prst="rect">
            <a:avLst/>
          </a:prstGeom>
          <a:solidFill>
            <a:srgbClr val="0B5394"/>
          </a:solidFill>
          <a:ln w="9525" cap="flat" cmpd="sng">
            <a:solidFill>
              <a:srgbClr val="0B539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The FLT3-like signature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¹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pic>
        <p:nvPicPr>
          <p:cNvPr id="10" name="Google Shape;159;p29">
            <a:extLst>
              <a:ext uri="{FF2B5EF4-FFF2-40B4-BE49-F238E27FC236}">
                <a16:creationId xmlns:a16="http://schemas.microsoft.com/office/drawing/2014/main" id="{9E12125F-E2A9-E604-3C75-44AFF6ED19A2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8104791" y="2514138"/>
            <a:ext cx="3864959" cy="4163076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Google Shape;169;p30">
            <a:extLst>
              <a:ext uri="{FF2B5EF4-FFF2-40B4-BE49-F238E27FC236}">
                <a16:creationId xmlns:a16="http://schemas.microsoft.com/office/drawing/2014/main" id="{7FFD4871-9A84-F13E-4367-815F5240F0D1}"/>
              </a:ext>
            </a:extLst>
          </p:cNvPr>
          <p:cNvSpPr/>
          <p:nvPr/>
        </p:nvSpPr>
        <p:spPr>
          <a:xfrm>
            <a:off x="4880201" y="4352201"/>
            <a:ext cx="2745432" cy="1800758"/>
          </a:xfrm>
          <a:prstGeom prst="rect">
            <a:avLst/>
          </a:prstGeom>
          <a:solidFill>
            <a:srgbClr val="F6B26B"/>
          </a:solidFill>
          <a:ln w="9525" cap="flat" cmpd="sng">
            <a:solidFill>
              <a:srgbClr val="F6B26B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FLT3-Like Patients: 50% of FLT3-ITD negative patients (N=81)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ELN-17 Classification: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Low Risk: 18.2%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Intermediate Risk: 39.5%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  <a:p>
            <a:pPr marL="457200" marR="0" lvl="0" indent="-298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ts val="1100"/>
              <a:buFont typeface="Open Sans"/>
              <a:buChar char="●"/>
              <a:tabLst/>
              <a:defRPr/>
            </a:pPr>
            <a:r>
              <a:rPr kumimoji="0" lang="e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High Risk: 42.0%</a:t>
            </a:r>
            <a:endParaRPr kumimoji="0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  <p:sp>
        <p:nvSpPr>
          <p:cNvPr id="12" name="Google Shape;170;p30">
            <a:extLst>
              <a:ext uri="{FF2B5EF4-FFF2-40B4-BE49-F238E27FC236}">
                <a16:creationId xmlns:a16="http://schemas.microsoft.com/office/drawing/2014/main" id="{EED52C73-3304-04B8-A4DF-C2591E04FA2D}"/>
              </a:ext>
            </a:extLst>
          </p:cNvPr>
          <p:cNvSpPr/>
          <p:nvPr/>
        </p:nvSpPr>
        <p:spPr>
          <a:xfrm>
            <a:off x="4880200" y="3722914"/>
            <a:ext cx="2745433" cy="669690"/>
          </a:xfrm>
          <a:prstGeom prst="rect">
            <a:avLst/>
          </a:prstGeom>
          <a:solidFill>
            <a:srgbClr val="E69138"/>
          </a:solidFill>
          <a:ln w="9525" cap="flat" cmpd="sng">
            <a:solidFill>
              <a:srgbClr val="E6913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" sz="1600" b="1" i="0" u="none" strike="noStrike" kern="1200" cap="none" spc="0" normalizeH="0" baseline="0" noProof="0" dirty="0">
                <a:ln>
                  <a:noFill/>
                </a:ln>
                <a:solidFill>
                  <a:srgbClr val="F7F7F8"/>
                </a:solidFill>
                <a:effectLst/>
                <a:uLnTx/>
                <a:uFillTx/>
                <a:latin typeface="Calibri" panose="020F0502020204030204" pitchFamily="34" charset="0"/>
                <a:ea typeface="Open Sans"/>
                <a:cs typeface="Calibri" panose="020F0502020204030204" pitchFamily="34" charset="0"/>
                <a:sym typeface="Open Sans"/>
              </a:rPr>
              <a:t>Overview of the Non-FLT3-Like Transcriptomic Cluster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srgbClr val="F7F7F8"/>
              </a:solidFill>
              <a:effectLst/>
              <a:uLnTx/>
              <a:uFillTx/>
              <a:latin typeface="Calibri" panose="020F0502020204030204" pitchFamily="34" charset="0"/>
              <a:ea typeface="Open Sans"/>
              <a:cs typeface="Calibri" panose="020F0502020204030204" pitchFamily="34" charset="0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710003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GFZwS3zfQncrK.5dJi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bEK227R3V6AkvViKIj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Wh8R9icfIMVTfqJAgK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ORMAL SLIDES">
  <a:themeElements>
    <a:clrScheme name="Program Content Slides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Custom 1">
      <a:majorFont>
        <a:latin typeface="Roboto Condense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NORMAL SLIDES">
  <a:themeElements>
    <a:clrScheme name="Custom 1">
      <a:dk1>
        <a:srgbClr val="47484F"/>
      </a:dk1>
      <a:lt1>
        <a:sysClr val="window" lastClr="FFFFFF"/>
      </a:lt1>
      <a:dk2>
        <a:srgbClr val="0F3853"/>
      </a:dk2>
      <a:lt2>
        <a:srgbClr val="134E77"/>
      </a:lt2>
      <a:accent1>
        <a:srgbClr val="116EA7"/>
      </a:accent1>
      <a:accent2>
        <a:srgbClr val="7897A8"/>
      </a:accent2>
      <a:accent3>
        <a:srgbClr val="6E1F23"/>
      </a:accent3>
      <a:accent4>
        <a:srgbClr val="9C130C"/>
      </a:accent4>
      <a:accent5>
        <a:srgbClr val="DA2520"/>
      </a:accent5>
      <a:accent6>
        <a:srgbClr val="FD8831"/>
      </a:accent6>
      <a:hlink>
        <a:srgbClr val="116EA7"/>
      </a:hlink>
      <a:folHlink>
        <a:srgbClr val="116EA7"/>
      </a:folHlink>
    </a:clrScheme>
    <a:fontScheme name="Custom 2">
      <a:majorFont>
        <a:latin typeface="Roboto Condense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Office Theme">
  <a:themeElements>
    <a:clrScheme name="Custom 36">
      <a:dk1>
        <a:srgbClr val="000000"/>
      </a:dk1>
      <a:lt1>
        <a:srgbClr val="FFFFFF"/>
      </a:lt1>
      <a:dk2>
        <a:srgbClr val="555555"/>
      </a:dk2>
      <a:lt2>
        <a:srgbClr val="4D8D75"/>
      </a:lt2>
      <a:accent1>
        <a:srgbClr val="206367"/>
      </a:accent1>
      <a:accent2>
        <a:srgbClr val="193D40"/>
      </a:accent2>
      <a:accent3>
        <a:srgbClr val="D8862E"/>
      </a:accent3>
      <a:accent4>
        <a:srgbClr val="609BC8"/>
      </a:accent4>
      <a:accent5>
        <a:srgbClr val="A9AAA9"/>
      </a:accent5>
      <a:accent6>
        <a:srgbClr val="D82144"/>
      </a:accent6>
      <a:hlink>
        <a:srgbClr val="609BC8"/>
      </a:hlink>
      <a:folHlink>
        <a:srgbClr val="B1B2B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Custom Design">
  <a:themeElements>
    <a:clrScheme name="Custom 39">
      <a:dk1>
        <a:srgbClr val="002169"/>
      </a:dk1>
      <a:lt1>
        <a:sysClr val="window" lastClr="FFFFFF"/>
      </a:lt1>
      <a:dk2>
        <a:srgbClr val="FFFFFF"/>
      </a:dk2>
      <a:lt2>
        <a:srgbClr val="002169"/>
      </a:lt2>
      <a:accent1>
        <a:srgbClr val="F18A00"/>
      </a:accent1>
      <a:accent2>
        <a:srgbClr val="3E9557"/>
      </a:accent2>
      <a:accent3>
        <a:srgbClr val="4D4D4D"/>
      </a:accent3>
      <a:accent4>
        <a:srgbClr val="BBBBBB"/>
      </a:accent4>
      <a:accent5>
        <a:srgbClr val="E6E6E6"/>
      </a:accent5>
      <a:accent6>
        <a:srgbClr val="ADDDBB"/>
      </a:accent6>
      <a:hlink>
        <a:srgbClr val="87A6CF"/>
      </a:hlink>
      <a:folHlink>
        <a:srgbClr val="F8D5AA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ef46fcd0903dc71ae342ffa03ef4f548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22a09f9384c98626205d493fc258a7fc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45A1C280-31EC-4E73-8A4C-C0B94864A354}"/>
</file>

<file path=customXml/itemProps2.xml><?xml version="1.0" encoding="utf-8"?>
<ds:datastoreItem xmlns:ds="http://schemas.openxmlformats.org/officeDocument/2006/customXml" ds:itemID="{693C7C7F-4CA4-411F-A65C-B7BB9F9AB56D}"/>
</file>

<file path=customXml/itemProps3.xml><?xml version="1.0" encoding="utf-8"?>
<ds:datastoreItem xmlns:ds="http://schemas.openxmlformats.org/officeDocument/2006/customXml" ds:itemID="{714FA4A1-3157-4ECB-923D-8FB087BB5A36}"/>
</file>

<file path=docProps/app.xml><?xml version="1.0" encoding="utf-8"?>
<Properties xmlns="http://schemas.openxmlformats.org/officeDocument/2006/extended-properties" xmlns:vt="http://schemas.openxmlformats.org/officeDocument/2006/docPropsVTypes">
  <TotalTime>1744</TotalTime>
  <Words>7675</Words>
  <Application>Microsoft Macintosh PowerPoint</Application>
  <PresentationFormat>Widescreen</PresentationFormat>
  <Paragraphs>1592</Paragraphs>
  <Slides>42</Slides>
  <Notes>33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2</vt:i4>
      </vt:variant>
    </vt:vector>
  </HeadingPairs>
  <TitlesOfParts>
    <vt:vector size="70" baseType="lpstr">
      <vt:lpstr>-apple-system</vt:lpstr>
      <vt:lpstr>Arial</vt:lpstr>
      <vt:lpstr>Arial Narrow</vt:lpstr>
      <vt:lpstr>Calibri</vt:lpstr>
      <vt:lpstr>Calibri Light</vt:lpstr>
      <vt:lpstr>Century Gothic</vt:lpstr>
      <vt:lpstr>Courier New</vt:lpstr>
      <vt:lpstr>Franklin Gothic Book</vt:lpstr>
      <vt:lpstr>Franklin Gothic Medium Cond</vt:lpstr>
      <vt:lpstr>Futura Bk BT</vt:lpstr>
      <vt:lpstr>Futura Lt BT</vt:lpstr>
      <vt:lpstr>Helvetica Light</vt:lpstr>
      <vt:lpstr>Montserrat SemiBold</vt:lpstr>
      <vt:lpstr>Open Sans</vt:lpstr>
      <vt:lpstr>OpenSans</vt:lpstr>
      <vt:lpstr>Proxima Nova Rg</vt:lpstr>
      <vt:lpstr>Roboto Condensed</vt:lpstr>
      <vt:lpstr>Source Sans Pro</vt:lpstr>
      <vt:lpstr>Tahoma</vt:lpstr>
      <vt:lpstr>Tw Cen MT</vt:lpstr>
      <vt:lpstr>Wingdings</vt:lpstr>
      <vt:lpstr>Office Theme</vt:lpstr>
      <vt:lpstr>NORMAL SLIDES</vt:lpstr>
      <vt:lpstr>1_NORMAL SLIDES</vt:lpstr>
      <vt:lpstr>6_Office Theme</vt:lpstr>
      <vt:lpstr>Custom Design</vt:lpstr>
      <vt:lpstr>think-cell Slide</vt:lpstr>
      <vt:lpstr>Prism 10</vt:lpstr>
      <vt:lpstr>RTP: Current and Emerging Role of Biomarker-Directed Therapeutic Approaches for Patients with AML</vt:lpstr>
      <vt:lpstr>Newly Dx IC-eligible FLT3-ITD Mutated: QuANTUM-First Updates</vt:lpstr>
      <vt:lpstr>Comparing RATIFY and QuANTUM-First?</vt:lpstr>
      <vt:lpstr>Younger patients particularly benefit from addition of quizartinib</vt:lpstr>
      <vt:lpstr> </vt:lpstr>
      <vt:lpstr> </vt:lpstr>
      <vt:lpstr> </vt:lpstr>
      <vt:lpstr> </vt:lpstr>
      <vt:lpstr> </vt:lpstr>
      <vt:lpstr> </vt:lpstr>
      <vt:lpstr> </vt:lpstr>
      <vt:lpstr> </vt:lpstr>
      <vt:lpstr>PowerPoint Presentation</vt:lpstr>
      <vt:lpstr> </vt:lpstr>
      <vt:lpstr>PowerPoint Presentation</vt:lpstr>
      <vt:lpstr>PowerPoint Presentation</vt:lpstr>
      <vt:lpstr>PowerPoint Presentation</vt:lpstr>
      <vt:lpstr> </vt:lpstr>
      <vt:lpstr>PowerPoint Presentation</vt:lpstr>
      <vt:lpstr>PowerPoint Presentation</vt:lpstr>
      <vt:lpstr>PowerPoint Presentation</vt:lpstr>
      <vt:lpstr>Conclusions</vt:lpstr>
      <vt:lpstr>Phase 1/2 Study of Novel IDH1 Inhibitor Olutasidenib Multiple Cohorts of Monotherapy and Combination With Aza[1]</vt:lpstr>
      <vt:lpstr>OS by Response Category With Olutasidenib and Ivosidenib</vt:lpstr>
      <vt:lpstr>Olutasidenib and Ivosidenib Data in R/R AML  </vt:lpstr>
      <vt:lpstr>Olutasidenib and Ivosidenib Baseline Demographics and Disease Characteristics in Approval R/R AML Study Populations</vt:lpstr>
      <vt:lpstr>Oluta for R/R post-VEN AML</vt:lpstr>
      <vt:lpstr>Menin Inhibitors for R/R AML</vt:lpstr>
      <vt:lpstr>Overview of Menin Inhibitors in Development for AML</vt:lpstr>
      <vt:lpstr>Phase 1/2 KOMET-001 Study Ziftomenib (KO-539) in Adults With NPM1-Mutated AML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neralized Conclusions</vt:lpstr>
    </vt:vector>
  </TitlesOfParts>
  <Company>M.D. Anderson Cancer Cent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TP Slide Request </dc:title>
  <dc:creator>DiNardo,Courtney</dc:creator>
  <cp:lastModifiedBy>Silvana Izquierdo</cp:lastModifiedBy>
  <cp:revision>35</cp:revision>
  <dcterms:created xsi:type="dcterms:W3CDTF">2024-03-29T18:20:30Z</dcterms:created>
  <dcterms:modified xsi:type="dcterms:W3CDTF">2024-04-15T13:39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